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mp4" ContentType="video/mp4"/>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3.xml" ContentType="application/vnd.openxmlformats-officedocument.theme+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omments/modernComment_7FFFC8D8_DCFA28E7.xml" ContentType="application/vnd.ms-powerpoint.comments+xml"/>
  <Override PartName="/ppt/notesSlides/notesSlide6.xml" ContentType="application/vnd.openxmlformats-officedocument.presentationml.notesSlide+xml"/>
  <Override PartName="/ppt/comments/modernComment_7FFFCC99_B52DF26F.xml" ContentType="application/vnd.ms-powerpoint.comments+xml"/>
  <Override PartName="/ppt/notesSlides/notesSlide7.xml" ContentType="application/vnd.openxmlformats-officedocument.presentationml.notesSlide+xml"/>
  <Override PartName="/ppt/comments/modernComment_7FFFCC95_9C1F54D7.xml" ContentType="application/vnd.ms-powerpoint.comments+xml"/>
  <Override PartName="/ppt/notesSlides/notesSlide8.xml" ContentType="application/vnd.openxmlformats-officedocument.presentationml.notesSlide+xml"/>
  <Override PartName="/ppt/comments/modernComment_7FFFCA2C_F9EBCC33.xml" ContentType="application/vnd.ms-powerpoint.comments+xml"/>
  <Override PartName="/ppt/notesSlides/notesSlide9.xml" ContentType="application/vnd.openxmlformats-officedocument.presentationml.notesSlide+xml"/>
  <Override PartName="/ppt/comments/modernComment_7FFFCCCF_B143E068.xml" ContentType="application/vnd.ms-powerpoint.comment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omments/modernComment_7FFFCC96_3CCF9F0F.xml" ContentType="application/vnd.ms-powerpoint.comments+xml"/>
  <Override PartName="/ppt/notesSlides/notesSlide13.xml" ContentType="application/vnd.openxmlformats-officedocument.presentationml.notesSlide+xml"/>
  <Override PartName="/ppt/comments/modernComment_7FFFCC8D_9CCD340E.xml" ContentType="application/vnd.ms-powerpoint.comments+xml"/>
  <Override PartName="/ppt/notesSlides/notesSlide14.xml" ContentType="application/vnd.openxmlformats-officedocument.presentationml.notesSlide+xml"/>
  <Override PartName="/ppt/comments/modernComment_7FFFCC94_7824A43E.xml" ContentType="application/vnd.ms-powerpoint.comment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94349" r:id="rId4"/>
    <p:sldMasterId id="2147494463" r:id="rId5"/>
    <p:sldMasterId id="2147494487" r:id="rId6"/>
    <p:sldMasterId id="2147494538" r:id="rId7"/>
  </p:sldMasterIdLst>
  <p:notesMasterIdLst>
    <p:notesMasterId r:id="rId24"/>
  </p:notesMasterIdLst>
  <p:sldIdLst>
    <p:sldId id="2147470044" r:id="rId8"/>
    <p:sldId id="2147469499" r:id="rId9"/>
    <p:sldId id="2147470539" r:id="rId10"/>
    <p:sldId id="2147470540" r:id="rId11"/>
    <p:sldId id="2147469528" r:id="rId12"/>
    <p:sldId id="2147470489" r:id="rId13"/>
    <p:sldId id="2147470485" r:id="rId14"/>
    <p:sldId id="2147469868" r:id="rId15"/>
    <p:sldId id="2147470543" r:id="rId16"/>
    <p:sldId id="2147470555" r:id="rId17"/>
    <p:sldId id="2147470556" r:id="rId18"/>
    <p:sldId id="2147470542" r:id="rId19"/>
    <p:sldId id="2147470486" r:id="rId20"/>
    <p:sldId id="2147470477" r:id="rId21"/>
    <p:sldId id="2147470484" r:id="rId22"/>
    <p:sldId id="2147470064" r:id="rId23"/>
  </p:sldIdLst>
  <p:sldSz cx="12192000" cy="6858000"/>
  <p:notesSz cx="6858000" cy="9144000"/>
  <p:custDataLst>
    <p:tags r:id="rId2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19DEFF9B-DCDF-49C6-AECC-86DF938C60C9}">
          <p14:sldIdLst>
            <p14:sldId id="2147470044"/>
            <p14:sldId id="2147469499"/>
            <p14:sldId id="2147470539"/>
            <p14:sldId id="2147470540"/>
            <p14:sldId id="2147469528"/>
            <p14:sldId id="2147470489"/>
            <p14:sldId id="2147470485"/>
            <p14:sldId id="2147469868"/>
            <p14:sldId id="2147470543"/>
            <p14:sldId id="2147470555"/>
            <p14:sldId id="2147470556"/>
            <p14:sldId id="2147470542"/>
            <p14:sldId id="2147470486"/>
            <p14:sldId id="2147470477"/>
          </p14:sldIdLst>
        </p14:section>
        <p14:section name="Closing" id="{176689D9-9D17-4F31-AB87-D97CE93F7D1B}">
          <p14:sldIdLst>
            <p14:sldId id="2147470484"/>
            <p14:sldId id="2147470064"/>
          </p14:sldIdLst>
        </p14:section>
        <p14:section name="Appendix" id="{01CA718B-B709-4602-A6FE-0474561CD3D3}">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C9B3A44-A585-A7B1-016C-DCB09E44F25D}" name="Chris French (Synaxis Corporation)" initials="CF(C" userId="Chris French (Synaxis Corporation)" providerId="None"/>
  <p188:author id="{DB6B5F4C-FEDB-068F-A9CD-1A622210EA76}" name="Danielle Lirette" initials="DL" userId="S::dalirett@microsoft.com::86bffb7f-3bbd-4404-8d83-896d5859e7a9" providerId="AD"/>
  <p188:author id="{E2E40052-17AB-F63C-8E57-9A9112858744}" name="Malabika Roy" initials="MR" userId="S::maldas@microsoft.com::99cf1d50-3e29-458b-90d8-b9c195da7c28" providerId="AD"/>
  <p188:author id="{6861DC56-C60E-C5B4-0A63-DA1FB970CA05}" name="Jennifer Chadwick" initials="JC" userId="0bc0db856ddd51db" providerId="Windows Live"/>
  <p188:author id="{77021990-9F3C-1BF3-420E-16DA71BFE26A}" name="Angela Byers" initials="AB" userId="S::abyers@microsoft.com::0ae92a38-3d43-4c58-9e31-7f4047e197d8" providerId="AD"/>
  <p188:author id="{243E2992-C8A9-04AB-3D48-5CFB377EFD7B}" name="Abhishek Srivastava" initials="AS" userId="S::absri@microsoft.com::02685786-0bf7-4bb5-b747-58c0c1f17f98" providerId="AD"/>
  <p188:author id="{9992319E-69C8-2FBA-BEDD-2C5660FE0093}" name="John Mighell" initials="JM" userId="S::jomigh@microsoft.com::aa110d23-b74a-4732-bbdf-11d185d8cf54" providerId="AD"/>
  <p188:author id="{656FFFBC-3A0E-EAB4-A6FF-2CBD0DC9C80C}" name="Sarah Burg" initials="SB" userId="S::sarahburg@microsoft.com::38bb9561-b5c9-403e-870e-c77866c16c13" providerId="AD"/>
  <p188:author id="{BD9E44BD-AC76-7047-71EA-8C57A83334C3}" name="Zahid Saeed" initials="ZS" userId="S::zasaeed@microsoft.com::b8eeae82-1c1d-4859-a9c0-5ac34f535b2a" providerId="AD"/>
  <p188:author id="{78757CC7-480D-8B59-8FE9-81D8C3C85CF4}" name="Susan Aznoff" initials="SA" userId="S::v-suazno@microsoft.com::c0a526a9-e867-46b3-9653-7278b22ff610" providerId="AD"/>
  <p188:author id="{9F6174CF-D48A-DD27-940C-47BFC88AAFD6}" name="Andrea Lum" initials="AL" userId="S::anlum@microsoft.com::89002afe-ac3a-4767-b9c9-147d574dba1b" providerId="AD"/>
  <p188:author id="{080319DB-D871-6199-0C40-3FCB8CB74AF6}" name="Richard Tso" initials="RT" userId="S::ritso@microsoft.com::542329a4-5458-4ba5-8023-ad9fb685877c" providerId="AD"/>
  <p188:author id="{EA45EEFD-7D90-90B2-A960-03A48F97E123}" name="Divyanka Malik" initials="DM" userId="S::dimalik@microsoft.com::29051880-fc50-4d46-b0bd-e421493e6c34"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07C10"/>
    <a:srgbClr val="FFFFFF"/>
    <a:srgbClr val="F2F2F2"/>
    <a:srgbClr val="30E5D0"/>
    <a:srgbClr val="009999"/>
    <a:srgbClr val="8661C5"/>
    <a:srgbClr val="0078D4"/>
    <a:srgbClr val="666666"/>
    <a:srgbClr val="008575"/>
    <a:srgbClr val="D9D9D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A699F5E-A81F-D1CD-B2EB-A23DCF4B3B65}" v="119" dt="2022-06-28T15:28:43.538"/>
    <p1510:client id="{8959217A-AA46-4984-AEDC-270A760677E6}" v="4" dt="2022-06-27T22:30:23.824"/>
    <p1510:client id="{B79B1D93-674D-16E0-0DFF-D857E338B047}" v="7" dt="2022-06-28T15:11:17.422"/>
    <p1510:client id="{B7D44F05-CC30-33EF-6FD0-CFAA2DB16CEE}" v="9" dt="2022-06-28T15:10:25.364"/>
    <p1510:client id="{CE2CCEAB-E1EC-B0C2-6426-B95EC56EC6F1}" v="5" dt="2022-06-28T15:11:41.14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4.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theme" Target="theme/theme1.xml"/><Relationship Id="rId10" Type="http://schemas.openxmlformats.org/officeDocument/2006/relationships/slide" Target="slides/slide3.xml"/><Relationship Id="rId19" Type="http://schemas.openxmlformats.org/officeDocument/2006/relationships/slide" Target="slides/slide12.xml"/><Relationship Id="rId31"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viewProps" Target="viewProps.xml"/><Relationship Id="rId30" Type="http://schemas.microsoft.com/office/2015/10/relationships/revisionInfo" Target="revisionInfo.xml"/></Relationships>
</file>

<file path=ppt/comments/modernComment_7FFFC8D8_DCFA28E7.xml><?xml version="1.0" encoding="utf-8"?>
<p188:cmLst xmlns:a="http://schemas.openxmlformats.org/drawingml/2006/main" xmlns:r="http://schemas.openxmlformats.org/officeDocument/2006/relationships" xmlns:p188="http://schemas.microsoft.com/office/powerpoint/2018/8/main">
  <p188:cm id="{07F72CF6-3276-4141-824A-D34E7456CC81}" authorId="{9992319E-69C8-2FBA-BEDD-2C5660FE0093}" status="resolved" created="2022-06-16T22:35:42.967" complete="100000">
    <ac:deMkLst xmlns:ac="http://schemas.microsoft.com/office/drawing/2013/main/command">
      <pc:docMk xmlns:pc="http://schemas.microsoft.com/office/powerpoint/2013/main/command"/>
      <pc:sldMk xmlns:pc="http://schemas.microsoft.com/office/powerpoint/2013/main/command" cId="3707381991" sldId="2147469528"/>
      <ac:spMk id="5" creationId="{1DBB740F-43D7-46C1-8D2E-CD725C1EB5DD}"/>
    </ac:deMkLst>
    <p188:txBody>
      <a:bodyPr/>
      <a:lstStyle/>
      <a:p>
        <a:r>
          <a:rPr lang="en-US"/>
          <a:t>Maybe we break this out with a highlight like "Content Catalog API - newly available!" "Learner Record Sync APIs - coming soon"</a:t>
        </a:r>
      </a:p>
    </p188:txBody>
  </p188:cm>
</p188:cmLst>
</file>

<file path=ppt/comments/modernComment_7FFFCA2C_F9EBCC33.xml><?xml version="1.0" encoding="utf-8"?>
<p188:cmLst xmlns:a="http://schemas.openxmlformats.org/drawingml/2006/main" xmlns:r="http://schemas.openxmlformats.org/officeDocument/2006/relationships" xmlns:p188="http://schemas.microsoft.com/office/powerpoint/2018/8/main">
  <p188:cm id="{85C2C823-D3D9-417F-A9B6-A135A03EBC45}" authorId="{243E2992-C8A9-04AB-3D48-5CFB377EFD7B}" status="resolved" created="2022-05-22T19:44:01.041">
    <ac:deMkLst xmlns:ac="http://schemas.microsoft.com/office/drawing/2013/main/command">
      <pc:docMk xmlns:pc="http://schemas.microsoft.com/office/powerpoint/2013/main/command"/>
      <pc:sldMk xmlns:pc="http://schemas.microsoft.com/office/powerpoint/2013/main/command" cId="4192980019" sldId="2147469868"/>
      <ac:spMk id="5" creationId="{0856B845-4886-4051-85B4-46749A69690E}"/>
    </ac:deMkLst>
    <p188:replyLst>
      <p188:reply id="{AB38F411-CF53-43ED-A72A-A412E2DDA2AA}" authorId="{EA45EEFD-7D90-90B2-A960-03A48F97E123}" created="2022-05-23T12:28:35.525">
        <p188:txBody>
          <a:bodyPr/>
          <a:lstStyle/>
          <a:p>
            <a:r>
              <a:rPr lang="en-US"/>
              <a:t>Done, please review</a:t>
            </a:r>
          </a:p>
        </p188:txBody>
      </p188:reply>
      <p188:reply id="{CC1B0FB0-D471-4EBC-86B2-EEDFEE99B532}" authorId="{243E2992-C8A9-04AB-3D48-5CFB377EFD7B}" created="2022-05-23T14:17:34.994">
        <p188:txBody>
          <a:bodyPr/>
          <a:lstStyle/>
          <a:p>
            <a:r>
              <a:rPr lang="en-IN"/>
              <a:t>Removed some repetitive words, looks good overall</a:t>
            </a:r>
          </a:p>
        </p188:txBody>
      </p188:reply>
      <p188:reply id="{436E1EF7-8606-49AF-A65F-EBB2F45B5B96}" authorId="{EA45EEFD-7D90-90B2-A960-03A48F97E123}" created="2022-05-24T06:17:57.142">
        <p188:txBody>
          <a:bodyPr/>
          <a:lstStyle/>
          <a:p>
            <a:r>
              <a:rPr lang="en-US"/>
              <a:t>sure :)</a:t>
            </a:r>
          </a:p>
        </p188:txBody>
      </p188:reply>
    </p188:replyLst>
    <p188:txBody>
      <a:bodyPr/>
      <a:lstStyle/>
      <a:p>
        <a:r>
          <a:rPr lang="en-IN"/>
          <a:t>[@Divyanka] populate this slide with 3 APIs and what it will achieve</a:t>
        </a:r>
      </a:p>
    </p188:txBody>
  </p188:cm>
</p188:cmLst>
</file>

<file path=ppt/comments/modernComment_7FFFCC8D_9CCD340E.xml><?xml version="1.0" encoding="utf-8"?>
<p188:cmLst xmlns:a="http://schemas.openxmlformats.org/drawingml/2006/main" xmlns:r="http://schemas.openxmlformats.org/officeDocument/2006/relationships" xmlns:p188="http://schemas.microsoft.com/office/powerpoint/2018/8/main">
  <p188:cm id="{EB2E6EC5-192A-4617-BF79-22518E8580BE}" authorId="{9F6174CF-D48A-DD27-940C-47BFC88AAFD6}" status="resolved" created="2022-06-15T22:47:38.768" complete="100000">
    <ac:txMkLst xmlns:ac="http://schemas.microsoft.com/office/drawing/2013/main/command">
      <pc:docMk xmlns:pc="http://schemas.microsoft.com/office/powerpoint/2013/main/command"/>
      <pc:sldMk xmlns:pc="http://schemas.microsoft.com/office/powerpoint/2013/main/command" cId="2630693902" sldId="2147470477"/>
      <ac:spMk id="10" creationId="{4862AE97-E114-4CCC-A232-55F606709F6E}"/>
      <ac:txMk cp="0">
        <ac:context len="184" hash="3378375000"/>
      </ac:txMk>
    </ac:txMkLst>
    <p188:pos x="6313110" y="40537"/>
    <p188:txBody>
      <a:bodyPr/>
      <a:lstStyle/>
      <a:p>
        <a:r>
          <a:rPr lang="en-US"/>
          <a:t>[@Malabika Roy] will documentation be available that we can point to?</a:t>
        </a:r>
      </a:p>
    </p188:txBody>
  </p188:cm>
</p188:cmLst>
</file>

<file path=ppt/comments/modernComment_7FFFCC94_7824A43E.xml><?xml version="1.0" encoding="utf-8"?>
<p188:cmLst xmlns:a="http://schemas.openxmlformats.org/drawingml/2006/main" xmlns:r="http://schemas.openxmlformats.org/officeDocument/2006/relationships" xmlns:p188="http://schemas.microsoft.com/office/powerpoint/2018/8/main">
  <p188:cm id="{3F7CD9AE-629D-4BFA-BEF4-E84782E6BE00}" authorId="{9992319E-69C8-2FBA-BEDD-2C5660FE0093}" status="resolved" created="2022-06-16T22:32:53.550" complete="100000">
    <ac:deMkLst xmlns:ac="http://schemas.microsoft.com/office/drawing/2013/main/command">
      <pc:docMk xmlns:pc="http://schemas.microsoft.com/office/powerpoint/2013/main/command"/>
      <pc:sldMk xmlns:pc="http://schemas.microsoft.com/office/powerpoint/2013/main/command" cId="2015667262" sldId="2147470484"/>
      <ac:spMk id="4" creationId="{760FA306-90AD-414C-BFFA-C9913B8DEDD2}"/>
    </ac:deMkLst>
    <p188:txBody>
      <a:bodyPr/>
      <a:lstStyle/>
      <a:p>
        <a:r>
          <a:rPr lang="en-US"/>
          <a:t>Can we add a direct link to where the API documentation will be publicly available? Also, if there's any mechanism for partners to provide feedback on the APIs we should add that here. </a:t>
        </a:r>
      </a:p>
    </p188:txBody>
  </p188:cm>
</p188:cmLst>
</file>

<file path=ppt/comments/modernComment_7FFFCC95_9C1F54D7.xml><?xml version="1.0" encoding="utf-8"?>
<p188:cmLst xmlns:a="http://schemas.openxmlformats.org/drawingml/2006/main" xmlns:r="http://schemas.openxmlformats.org/officeDocument/2006/relationships" xmlns:p188="http://schemas.microsoft.com/office/powerpoint/2018/8/main">
  <p188:cm id="{1F2BEDB5-8449-4552-8C7D-A918802683E5}" authorId="{243E2992-C8A9-04AB-3D48-5CFB377EFD7B}" status="resolved" created="2022-05-22T19:47:05.555">
    <pc:sldMkLst xmlns:pc="http://schemas.microsoft.com/office/powerpoint/2013/main/command">
      <pc:docMk/>
      <pc:sldMk cId="2619299031" sldId="2147470485"/>
    </pc:sldMkLst>
    <p188:replyLst>
      <p188:reply id="{F79346C5-61AE-4179-B948-5CA15AB94DC7}" authorId="{EA45EEFD-7D90-90B2-A960-03A48F97E123}" created="2022-05-23T10:54:18.785">
        <p188:txBody>
          <a:bodyPr/>
          <a:lstStyle/>
          <a:p>
            <a:r>
              <a:rPr lang="en-US"/>
              <a:t>[@Abhishek Srivastava] I have updated the diagram to show both OOB integrations &amp; Graph APIs. Please review</a:t>
            </a:r>
          </a:p>
        </p188:txBody>
      </p188:reply>
      <p188:reply id="{DA6FEF30-E49C-498C-B8E6-86EC5C751754}" authorId="{243E2992-C8A9-04AB-3D48-5CFB377EFD7B}" created="2022-05-23T11:08:50.850">
        <p188:txBody>
          <a:bodyPr/>
          <a:lstStyle/>
          <a:p>
            <a:r>
              <a:rPr lang="en-IN"/>
              <a:t>Looks good ☺️ </a:t>
            </a:r>
          </a:p>
        </p188:txBody>
      </p188:reply>
    </p188:replyLst>
    <p188:txBody>
      <a:bodyPr/>
      <a:lstStyle/>
      <a:p>
        <a:r>
          <a:rPr lang="en-IN"/>
          <a:t>[@Divyanka] might need to modify this slide to show all 3 in one, or make it for Graph mainly</a:t>
        </a:r>
      </a:p>
    </p188:txBody>
  </p188:cm>
  <p188:cm id="{CAB37625-89E0-4D77-B42A-226BBDA3B11B}" authorId="{E2E40052-17AB-F63C-8E57-9A9112858744}" status="resolved" created="2022-05-24T16:27:16.717">
    <ac:deMkLst xmlns:ac="http://schemas.microsoft.com/office/drawing/2013/main/command">
      <pc:docMk xmlns:pc="http://schemas.microsoft.com/office/powerpoint/2013/main/command"/>
      <pc:sldMk xmlns:pc="http://schemas.microsoft.com/office/powerpoint/2013/main/command" cId="2619299031" sldId="2147470485"/>
      <ac:spMk id="3" creationId="{801F659E-ADBB-2A88-8B4E-EBAA422930FE}"/>
    </ac:deMkLst>
    <p188:replyLst>
      <p188:reply id="{63D0F949-9CAA-4182-817A-1A8B7938D1AC}" authorId="{EA45EEFD-7D90-90B2-A960-03A48F97E123}" created="2022-05-24T16:53:41.099">
        <p188:txBody>
          <a:bodyPr/>
          <a:lstStyle/>
          <a:p>
            <a:r>
              <a:rPr lang="en-US"/>
              <a:t>yes Malabika, I had initially thought the same but then I felt in both cases data is coming within Viva Learning that's why kept it that way. But it's a fair point, I have reversed the direction of one arrow.</a:t>
            </a:r>
          </a:p>
        </p188:txBody>
      </p188:reply>
    </p188:replyLst>
    <p188:txBody>
      <a:bodyPr/>
      <a:lstStyle/>
      <a:p>
        <a:r>
          <a:rPr lang="en-US"/>
          <a:t>[@Divyanka] Pull push arrow head direction should be opposite</a:t>
        </a:r>
      </a:p>
    </p188:txBody>
  </p188:cm>
</p188:cmLst>
</file>

<file path=ppt/comments/modernComment_7FFFCC96_3CCF9F0F.xml><?xml version="1.0" encoding="utf-8"?>
<p188:cmLst xmlns:a="http://schemas.openxmlformats.org/drawingml/2006/main" xmlns:r="http://schemas.openxmlformats.org/officeDocument/2006/relationships" xmlns:p188="http://schemas.microsoft.com/office/powerpoint/2018/8/main">
  <p188:cm id="{E7CB3A20-DFFE-43E5-9E40-FD62DCC6C056}" authorId="{9992319E-69C8-2FBA-BEDD-2C5660FE0093}" status="resolved" created="2022-06-16T22:29:42.075" complete="100000">
    <ac:txMkLst xmlns:ac="http://schemas.microsoft.com/office/drawing/2013/main/command">
      <pc:docMk xmlns:pc="http://schemas.microsoft.com/office/powerpoint/2013/main/command"/>
      <pc:sldMk xmlns:pc="http://schemas.microsoft.com/office/powerpoint/2013/main/command" cId="1020239631" sldId="2147470486"/>
      <ac:spMk id="5" creationId="{9C22B3F6-A5FA-47CA-8737-B6574A4CE719}"/>
      <ac:txMk cp="0" len="21">
        <ac:context len="22" hash="1686897945"/>
      </ac:txMk>
    </ac:txMkLst>
    <p188:pos x="2779415" y="291008"/>
    <p188:txBody>
      <a:bodyPr/>
      <a:lstStyle/>
      <a:p>
        <a:r>
          <a:rPr lang="en-US"/>
          <a:t>Can we make this pop a little more? I want this to feel like a semi-big announcement. Maybe it even merits its own standalone slide with a big "announcing content sync APIs now publicly available!!" or something like that</a:t>
        </a:r>
      </a:p>
    </p188:txBody>
  </p188:cm>
</p188:cmLst>
</file>

<file path=ppt/comments/modernComment_7FFFCC99_B52DF26F.xml><?xml version="1.0" encoding="utf-8"?>
<p188:cmLst xmlns:a="http://schemas.openxmlformats.org/drawingml/2006/main" xmlns:r="http://schemas.openxmlformats.org/officeDocument/2006/relationships" xmlns:p188="http://schemas.microsoft.com/office/powerpoint/2018/8/main">
  <p188:cm id="{9502F562-2A6E-4795-B919-E4F679216D80}" authorId="{9F6174CF-D48A-DD27-940C-47BFC88AAFD6}" status="resolved" created="2022-06-15T22:49:00.029" complete="100000">
    <pc:sldMkLst xmlns:pc="http://schemas.microsoft.com/office/powerpoint/2013/main/command">
      <pc:docMk/>
      <pc:sldMk cId="3039687279" sldId="2147470489"/>
    </pc:sldMkLst>
    <p188:txBody>
      <a:bodyPr/>
      <a:lstStyle/>
      <a:p>
        <a:r>
          <a:rPr lang="en-US"/>
          <a:t>[@Divyanka Malik] [@Malabika Roy] you can add slides in this section for a 5 min walkthrough of how the Graph APIs work (architecture/dataflow diagram)</a:t>
        </a:r>
      </a:p>
    </p188:txBody>
  </p188:cm>
  <p188:cm id="{3212A21C-B648-4D34-AB4C-6869A6D5A79A}" authorId="{EA45EEFD-7D90-90B2-A960-03A48F97E123}" status="resolved" created="2022-06-23T06:52:07.016" complete="100000">
    <pc:sldMkLst xmlns:pc="http://schemas.microsoft.com/office/powerpoint/2013/main/command">
      <pc:docMk/>
      <pc:sldMk cId="3039687279" sldId="2147470489"/>
    </pc:sldMkLst>
    <p188:txBody>
      <a:bodyPr/>
      <a:lstStyle/>
      <a:p>
        <a:r>
          <a:rPr lang="en-US"/>
          <a:t>[@Andrea Lum] Should we put slide 11 - 16 (what &amp; how) before slide 7-8 (when - announcing the APIs and timelines)?</a:t>
        </a:r>
      </a:p>
    </p188:txBody>
  </p188:cm>
</p188:cmLst>
</file>

<file path=ppt/comments/modernComment_7FFFCCCF_B143E068.xml><?xml version="1.0" encoding="utf-8"?>
<p188:cmLst xmlns:a="http://schemas.openxmlformats.org/drawingml/2006/main" xmlns:r="http://schemas.openxmlformats.org/officeDocument/2006/relationships" xmlns:p188="http://schemas.microsoft.com/office/powerpoint/2018/8/main">
  <p188:cm id="{21D4F5DC-378E-4BE1-8772-3232BC17FECF}" authorId="{243E2992-C8A9-04AB-3D48-5CFB377EFD7B}" status="resolved" created="2022-05-22T19:45:38.765">
    <ac:deMkLst xmlns:ac="http://schemas.microsoft.com/office/drawing/2013/main/command">
      <pc:docMk xmlns:pc="http://schemas.microsoft.com/office/powerpoint/2013/main/command"/>
      <pc:sldMk xmlns:pc="http://schemas.microsoft.com/office/powerpoint/2013/main/command" cId="2974015592" sldId="2147470543"/>
      <ac:spMk id="3" creationId="{5C498C3F-26B8-4B0A-AED1-8BB808886138}"/>
    </ac:deMkLst>
    <p188:txBody>
      <a:bodyPr/>
      <a:lstStyle/>
      <a:p>
        <a:r>
          <a:rPr lang="en-IN"/>
          <a:t>[@Divyanka] put a simple video how the Viva Learning looks post three API integration...focus on Content catalog, Assignments and Completion (U can use Microsoft Viva Learning as example)</a:t>
        </a:r>
      </a:p>
    </p188:txBody>
  </p188:cm>
  <p188:cm id="{516E192F-7484-46B2-9E6B-68C703CE61D1}" authorId="{243E2992-C8A9-04AB-3D48-5CFB377EFD7B}" status="resolved" created="2022-05-23T14:15:56.171">
    <pc:sldMkLst xmlns:pc="http://schemas.microsoft.com/office/powerpoint/2013/main/command">
      <pc:docMk/>
      <pc:sldMk cId="2974015592" sldId="2147470542"/>
    </pc:sldMkLst>
    <p188:replyLst>
      <p188:reply id="{1848A880-B4F1-49EB-91E8-36344C9FDED0}" authorId="{243E2992-C8A9-04AB-3D48-5CFB377EFD7B}" created="2022-05-23T14:18:44.419">
        <p188:txBody>
          <a:bodyPr/>
          <a:lstStyle/>
          <a:p>
            <a:r>
              <a:rPr lang="en-IN"/>
              <a:t>This is only for content snapshot</a:t>
            </a:r>
          </a:p>
        </p188:txBody>
      </p188:reply>
      <p188:reply id="{04886352-636F-4A7E-BF2E-23C046F9447F}" authorId="{EA45EEFD-7D90-90B2-A960-03A48F97E123}" created="2022-05-23T14:51:24.099">
        <p188:txBody>
          <a:bodyPr/>
          <a:lstStyle/>
          <a:p>
            <a:r>
              <a:rPr lang="en-US"/>
              <a:t>sure</a:t>
            </a:r>
          </a:p>
        </p188:txBody>
      </p188:reply>
      <p188:reply id="{DF4BFE92-BBF2-4AF7-9651-266E1CCD9D03}" authorId="{EA45EEFD-7D90-90B2-A960-03A48F97E123}" created="2022-05-24T06:17:30.438">
        <p188:txBody>
          <a:bodyPr/>
          <a:lstStyle/>
          <a:p>
            <a:r>
              <a:rPr lang="en-US"/>
              <a:t>updated</a:t>
            </a:r>
          </a:p>
        </p188:txBody>
      </p188:reply>
    </p188:replyLst>
    <p188:txBody>
      <a:bodyPr/>
      <a:lstStyle/>
      <a:p>
        <a:r>
          <a:rPr lang="en-IN"/>
          <a:t>Can we put Contoso here ? In public presentations we don’t use Microsoft </a:t>
        </a:r>
      </a:p>
    </p188:txBody>
  </p188:cm>
</p188:cmLst>
</file>

<file path=ppt/drawings/_rels/vmlDrawing1.vml.rels><?xml version="1.0" encoding="UTF-8" standalone="yes"?>
<Relationships xmlns="http://schemas.openxmlformats.org/package/2006/relationships"><Relationship Id="rId1" Type="http://schemas.openxmlformats.org/officeDocument/2006/relationships/image" Target="../media/image4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E92ECF3-0E4E-4560-9C83-A80BEFD48AF5}" type="datetimeFigureOut">
              <a:rPr lang="en-US" smtClean="0"/>
              <a:t>6/28/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D9ACB7E-8B57-4042-AB70-7272828DB56B}" type="slidenum">
              <a:rPr lang="en-US" smtClean="0"/>
              <a:t>‹#›</a:t>
            </a:fld>
            <a:endParaRPr lang="en-US"/>
          </a:p>
        </p:txBody>
      </p:sp>
    </p:spTree>
    <p:extLst>
      <p:ext uri="{BB962C8B-B14F-4D97-AF65-F5344CB8AC3E}">
        <p14:creationId xmlns:p14="http://schemas.microsoft.com/office/powerpoint/2010/main" val="34321663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2072DC8-D49D-432C-9D46-A7718B5F549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28/2022 8:4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9026268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The Assignments will appear under Assigned to you section in the My Learning tab.</a:t>
            </a:r>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FE367CC2-276B-4AF6-83D6-A7973CE79C4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554214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a:t>The completed courses will appear under the Completed section in the My Learning tab .</a:t>
            </a:r>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FE367CC2-276B-4AF6-83D6-A7973CE79C4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1053023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850">
              <a:cs typeface="Segoe UI"/>
            </a:endParaRPr>
          </a:p>
          <a:p>
            <a:r>
              <a:rPr lang="en-US" sz="850">
                <a:cs typeface="Segoe UI"/>
              </a:rPr>
              <a:t>This is where we see the largest partner opportunity, at least on the technical side, to set up these APIs so customers have a custom learning solution that includes all of their preexisting learning investments.</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28/2022 8:4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9554587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ew section for Graph API in documentation</a:t>
            </a:r>
          </a:p>
          <a:p>
            <a:endParaRPr lang="en-US"/>
          </a:p>
          <a:p>
            <a:r>
              <a:rPr lang="en-US"/>
              <a:t>Using on-call bandwidth for support for Graph APIs – check w/ Dee</a:t>
            </a:r>
          </a:p>
          <a:p>
            <a:endParaRPr lang="en-US"/>
          </a:p>
          <a:p>
            <a:r>
              <a:rPr lang="en-US"/>
              <a:t>Can set up in 15 minutes</a:t>
            </a:r>
          </a:p>
          <a:p>
            <a:endParaRPr lang="en-US"/>
          </a:p>
          <a:p>
            <a:r>
              <a:rPr lang="en-US"/>
              <a:t>Make aka link</a:t>
            </a:r>
          </a:p>
        </p:txBody>
      </p:sp>
      <p:sp>
        <p:nvSpPr>
          <p:cNvPr id="4" name="Slide Number Placeholder 3"/>
          <p:cNvSpPr>
            <a:spLocks noGrp="1"/>
          </p:cNvSpPr>
          <p:nvPr>
            <p:ph type="sldNum" sz="quarter" idx="5"/>
          </p:nvPr>
        </p:nvSpPr>
        <p:spPr/>
        <p:txBody>
          <a:bodyPr/>
          <a:lstStyle/>
          <a:p>
            <a:fld id="{3D9ACB7E-8B57-4042-AB70-7272828DB56B}" type="slidenum">
              <a:rPr lang="en-US" smtClean="0"/>
              <a:t>14</a:t>
            </a:fld>
            <a:endParaRPr lang="en-US"/>
          </a:p>
        </p:txBody>
      </p:sp>
    </p:spTree>
    <p:extLst>
      <p:ext uri="{BB962C8B-B14F-4D97-AF65-F5344CB8AC3E}">
        <p14:creationId xmlns:p14="http://schemas.microsoft.com/office/powerpoint/2010/main" val="368902106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endParaRPr lang="en-US" sz="850">
              <a:latin typeface="Segoe UI"/>
              <a:cs typeface="Segoe UI"/>
            </a:endParaRPr>
          </a:p>
          <a:p>
            <a:r>
              <a:rPr lang="en-US" sz="850">
                <a:latin typeface="Segoe UI"/>
                <a:cs typeface="Segoe UI"/>
              </a:rPr>
              <a:t>_________________________________________</a:t>
            </a:r>
          </a:p>
          <a:p>
            <a:endParaRPr lang="en-US" sz="850">
              <a:latin typeface="Segoe UI"/>
              <a:cs typeface="Segoe UI"/>
            </a:endParaRPr>
          </a:p>
          <a:p>
            <a:r>
              <a:rPr lang="en-US" sz="850">
                <a:latin typeface="Segoe UI"/>
                <a:cs typeface="Segoe UI"/>
              </a:rPr>
              <a:t>Source: Microsoft Work Trend Index Annual Report 2021</a:t>
            </a:r>
            <a:endParaRPr lang="en-US" sz="850">
              <a:cs typeface="Segoe UI"/>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28/2022 8:4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552915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D9ACB7E-8B57-4042-AB70-7272828DB56B}" type="slidenum">
              <a:rPr lang="en-US" smtClean="0"/>
              <a:t>2</a:t>
            </a:fld>
            <a:endParaRPr lang="en-US"/>
          </a:p>
        </p:txBody>
      </p:sp>
    </p:spTree>
    <p:extLst>
      <p:ext uri="{BB962C8B-B14F-4D97-AF65-F5344CB8AC3E}">
        <p14:creationId xmlns:p14="http://schemas.microsoft.com/office/powerpoint/2010/main" val="26020379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1"/>
              <a:t>To understand Viva Learning and why this product is so different from others in the market, we have to take a look at the current learning landscape. There are several categories of learning solutions and platforms that have dominated the learning market.</a:t>
            </a:r>
          </a:p>
          <a:p>
            <a:pPr marL="0" indent="0">
              <a:buFont typeface="Arial" panose="020B0604020202020204" pitchFamily="34" charset="0"/>
              <a:buNone/>
            </a:pPr>
            <a:endParaRPr lang="en-US"/>
          </a:p>
          <a:p>
            <a:pPr>
              <a:defRPr/>
            </a:pPr>
            <a:r>
              <a:rPr lang="en-US" b="1"/>
              <a:t>Learning content providers are the source for actual learning content and courses. </a:t>
            </a:r>
            <a:r>
              <a:rPr lang="en-US"/>
              <a:t>There are several large players in this category, like LinkedIn Learning, Coursera, Pluralsight, and Skillsoft. The market for content providers is saturated, with many large players, in addition to niche providers that focus on certain topics, industries, and roles.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1">
              <a:cs typeface="Calibri"/>
            </a:endParaRPr>
          </a:p>
          <a:p>
            <a:pPr>
              <a:defRPr/>
            </a:pPr>
            <a:r>
              <a:rPr lang="en-US" b="1"/>
              <a:t>Learning Management Systems, or LMS, are typically admin and management tools used to track compliance &amp; training progress and to get insights on overall learning adoption within the organization</a:t>
            </a:r>
            <a:r>
              <a:rPr lang="en-US"/>
              <a:t>. These also provide a platform to deliver learning content to employees, by aggregating content from multiple content providers, and delivering that content to employees through course assignments and learning paths. Big names include SAP, Workday, and Cornerstone. </a:t>
            </a:r>
            <a:r>
              <a:rPr lang="en-US" sz="1800">
                <a:solidFill>
                  <a:srgbClr val="000000"/>
                </a:solidFill>
                <a:effectLst/>
                <a:latin typeface="Segoe UI"/>
                <a:ea typeface="Calibri" panose="020F0502020204030204" pitchFamily="34" charset="0"/>
                <a:cs typeface="Segoe UI"/>
              </a:rPr>
              <a:t>This is leverages a “push” model for enterprise learning. Most companies with an LMS as their core learning system find most of their employees simply consume mandatory trainings, and otherwise do not take advantage of other learning resources or opportunitie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p>
          <a:p>
            <a:pPr>
              <a:defRPr/>
            </a:pPr>
            <a:r>
              <a:rPr lang="en-US" b="1"/>
              <a:t>Learning experience platforms, or LXP, tend to be more end user-facing. The LXPs provide recommendations to end users on different courses &amp; skills they should learn based on what they have already discovered, consumed &amp; the skills they are trying to learn. </a:t>
            </a:r>
            <a:endParaRPr lang="en-US" b="1">
              <a:cs typeface="Calibri"/>
            </a:endParaRPr>
          </a:p>
          <a:p>
            <a:pPr>
              <a:defRPr/>
            </a:pPr>
            <a:endParaRPr lang="en-US"/>
          </a:p>
          <a:p>
            <a:pPr marL="0" marR="0" lvl="0" indent="0" algn="l" defTabSz="914400">
              <a:lnSpc>
                <a:spcPct val="100000"/>
              </a:lnSpc>
              <a:spcBef>
                <a:spcPts val="0"/>
              </a:spcBef>
              <a:spcAft>
                <a:spcPts val="0"/>
              </a:spcAft>
              <a:buClrTx/>
              <a:buSzTx/>
              <a:buFont typeface="Arial" panose="020B0604020202020204" pitchFamily="34" charset="0"/>
              <a:buNone/>
              <a:tabLst/>
              <a:defRPr/>
            </a:pPr>
            <a:r>
              <a:rPr lang="en-US"/>
              <a:t>is a newer category of learning solutions. </a:t>
            </a:r>
            <a:r>
              <a:rPr lang="en-US" sz="1200">
                <a:solidFill>
                  <a:srgbClr val="000000"/>
                </a:solidFill>
                <a:effectLst/>
                <a:latin typeface="Segoe UI"/>
                <a:ea typeface="Calibri" panose="020F0502020204030204" pitchFamily="34" charset="0"/>
                <a:cs typeface="Segoe UI"/>
              </a:rPr>
              <a:t>At a basic level, they provide similar functionality to an LMS, but differ in how the learner interacts with the platform. Where an LMS typically operates from a "push" model (i.e., content is assigned to learners), LXP solutions are more oriented to a curation-based "pull" model. Learners provide their career goals and learning interests, and the platform provides recommendations and connects learners to internally or externally hosted content. </a:t>
            </a:r>
            <a:r>
              <a:rPr lang="en-US"/>
              <a:t>This is a newer category, and growing rapidly in the market – think Degreed and Edcast.</a:t>
            </a:r>
            <a:endParaRPr lang="en-US">
              <a:cs typeface="Calibri"/>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a:t>*click for animation*</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p>
          <a:p>
            <a:pPr>
              <a:defRPr/>
            </a:pPr>
            <a:r>
              <a:rPr lang="en-US" b="1"/>
              <a:t>So, there is A host of different solutions out there in the market but they often suffer pretty low engagement levels, engagement mark is below 10% outside mandatory trainings consumption. This happens because employees have to navigate through these trainings outside of their typical work surfaces. Meaning, employees will have to consciously decide to step outside of their email, file, and collaboration spaces where they’re doing their daily work, and launch their LMS or LXP separately to focus on learning. They don't find time &amp; ease of access to integrate learning through out their day-to-day work experiences and that's why we see this low engagement among employees.</a:t>
            </a:r>
            <a:endParaRPr lang="en-US" b="1">
              <a:cs typeface="Calibri"/>
            </a:endParaRPr>
          </a:p>
          <a:p>
            <a:pPr marL="0" marR="0" lvl="0" indent="0" algn="l" defTabSz="914400">
              <a:lnSpc>
                <a:spcPct val="100000"/>
              </a:lnSpc>
              <a:spcBef>
                <a:spcPts val="0"/>
              </a:spcBef>
              <a:spcAft>
                <a:spcPts val="0"/>
              </a:spcAft>
              <a:buClrTx/>
              <a:buSzTx/>
              <a:buFontTx/>
              <a:buNone/>
              <a:tabLst/>
              <a:defRPr/>
            </a:pPr>
            <a:endParaRPr lang="en-US" sz="1200" b="1">
              <a:solidFill>
                <a:schemeClr val="tx1"/>
              </a:solidFill>
              <a:effectLst/>
              <a:latin typeface="+mn-lt"/>
              <a:cs typeface="Calibri"/>
            </a:endParaRPr>
          </a:p>
          <a:p>
            <a:pPr>
              <a:defRPr/>
            </a:pPr>
            <a:r>
              <a:rPr lang="en-US" b="1">
                <a:solidFill>
                  <a:srgbClr val="000000"/>
                </a:solidFill>
                <a:latin typeface="Calibri"/>
                <a:ea typeface="Calibri" panose="020F0502020204030204" pitchFamily="34" charset="0"/>
                <a:cs typeface="Calibri" panose="020F0502020204030204"/>
              </a:rPr>
              <a:t>So, what if we had this new way of learning that inter-twined the experience of learning &amp; personal development throughout the work surfaces that you are already working in.</a:t>
            </a:r>
          </a:p>
          <a:p>
            <a:pPr>
              <a:defRPr/>
            </a:pPr>
            <a:endParaRPr lang="en-US">
              <a:solidFill>
                <a:srgbClr val="000000"/>
              </a:solidFill>
              <a:latin typeface="Calibri" panose="020F0502020204030204"/>
              <a:ea typeface="Calibri" panose="020F0502020204030204" pitchFamily="34" charset="0"/>
              <a:cs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a:solidFill>
                  <a:srgbClr val="000000"/>
                </a:solidFill>
                <a:effectLst/>
                <a:latin typeface="Segoe UI"/>
                <a:ea typeface="Calibri" panose="020F0502020204030204" pitchFamily="34" charset="0"/>
                <a:cs typeface="Segoe UI"/>
              </a:rPr>
              <a:t>As a result, LXPs and LMSes suffer low engagement, often showing single digit engagement percentages outside of mandatory training consumption – again, going back to the stat we saw earlier.</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a:solidFill>
                <a:srgbClr val="000000"/>
              </a:solidFill>
              <a:effectLst/>
              <a:latin typeface="Segoe UI" panose="020B0502040204020203" pitchFamily="34" charset="0"/>
              <a:ea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a:t>Organizations need to send a signal that they are invested in their employees’ growth and development, and through a fresh way that the industry hasn’t seen before. </a:t>
            </a:r>
            <a:r>
              <a:rPr lang="en-US" sz="1200" kern="1200">
                <a:solidFill>
                  <a:schemeClr val="tx1"/>
                </a:solidFill>
                <a:effectLst/>
                <a:latin typeface="Segoe UI Light" pitchFamily="34" charset="0"/>
                <a:ea typeface="+mn-ea"/>
                <a:cs typeface="+mn-cs"/>
              </a:rPr>
              <a:t>Times are changing, and the need for a modernized learning solution is high.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kern="1200">
              <a:solidFill>
                <a:schemeClr val="tx1"/>
              </a:solidFill>
              <a:effectLst/>
              <a:latin typeface="Segoe UI Light"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a:effectLst/>
              <a:latin typeface="Segoe UI" panose="020B0502040204020203" pitchFamily="34" charset="0"/>
              <a:ea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a:solidFill>
                <a:schemeClr val="tx1"/>
              </a:solidFill>
              <a:effectLst/>
              <a:latin typeface="+mn-lt"/>
              <a:ea typeface="+mn-ea"/>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a:solidFill>
                <a:schemeClr val="tx1"/>
              </a:solidFill>
              <a:effectLst/>
              <a:latin typeface="+mn-lt"/>
              <a:ea typeface="+mn-ea"/>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a:solidFill>
                <a:schemeClr val="tx1"/>
              </a:solidFill>
              <a:effectLst/>
              <a:latin typeface="+mn-lt"/>
              <a:ea typeface="+mn-ea"/>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9ACB7E-8B57-4042-AB70-7272828DB56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52591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0"/>
              </a:spcAft>
            </a:pPr>
            <a:r>
              <a:rPr lang="en-US" sz="1200" b="1">
                <a:effectLst/>
                <a:latin typeface="Segoe UI"/>
                <a:ea typeface="Times New Roman" panose="02020603050405020304" pitchFamily="18" charset="0"/>
                <a:cs typeface="Segoe UI"/>
              </a:rPr>
              <a:t>And that brings us to Viva Learning. </a:t>
            </a:r>
            <a:r>
              <a:rPr lang="en-US" b="1"/>
              <a:t>Viva Learning is an in-the-flow learning solution for employees to discover, share, and consume learning content from libraries across your organization.</a:t>
            </a:r>
            <a:r>
              <a:rPr lang="en-US"/>
              <a:t> This includes content from Microsoft and partner solutions, between learning content providers and Learning management systems, and even your organization’s own content. It is available on desktop, mobile, and tablet.</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b="1"/>
              <a:t>Viva Learning is </a:t>
            </a:r>
            <a:r>
              <a:rPr lang="en-US" b="1" i="1"/>
              <a:t>built for</a:t>
            </a:r>
            <a:r>
              <a:rPr lang="en-US" b="1" i="0"/>
              <a:t> Microsoft Teams and Microsoft 365. This means it is in the unique position to truly bring learning to where employees are working, like integrating into Teams chat and tabs, and throughout Microsoft and Bing search.</a:t>
            </a:r>
            <a:endParaRPr lang="en-US" b="1">
              <a:cs typeface="Calibri"/>
            </a:endParaRPr>
          </a:p>
          <a:p>
            <a:endParaRPr lang="en-US"/>
          </a:p>
          <a:p>
            <a:pPr>
              <a:defRPr/>
            </a:pPr>
            <a:r>
              <a:rPr lang="en-US" b="1"/>
              <a:t>Your employees are already using Teams as a decentralized learning platform. In every meeting, every chat, every document collab – people are sharing information, gaining knowledge, learning new things, and growing. Viva Learning brings structured features, capabilities, and integrations with “formal learning” to supercharge the learning activities natively occurring in every Teams environment. With learning being an extension of the productivity platform, rather than a separate entity, it is easier for employees to prioritize their growth and development. And learning becomes inherently social, which data shows is the most effective way to learn. </a:t>
            </a:r>
            <a:endParaRPr lang="en-US" b="1">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a:t>Plus, for managers and organization leaders, it sends a signal to employees that they are prioritizing a culture of learning and growth, by placing it top of mind and making it easier to access learning investments that they have made.</a:t>
            </a:r>
            <a:endParaRPr lang="en-US" sz="1200">
              <a:effectLst/>
              <a:latin typeface="Segoe UI" panose="020B0502040204020203" pitchFamily="34" charset="0"/>
              <a:ea typeface="Times New Roman" panose="02020603050405020304" pitchFamily="18"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b="1"/>
              <a:t>Here on this slide is an animation showing the Viva Learning Teams chat composition feature. </a:t>
            </a:r>
            <a:r>
              <a:rPr lang="en-US" b="1" i="0"/>
              <a:t>As you can see, you can send a learning course right from your chat composition box. No stepping out into a separate app to interact with learning – we’re bringing learning right to where you are.</a:t>
            </a:r>
            <a:endParaRPr lang="en-US" b="1">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AFE4D5-5D9A-4D27-8596-63B4489836F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316512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7000"/>
              </a:lnSpc>
              <a:spcBef>
                <a:spcPts val="0"/>
              </a:spcBef>
              <a:spcAft>
                <a:spcPts val="800"/>
              </a:spcAft>
              <a:buClrTx/>
              <a:buSzTx/>
              <a:buFont typeface="Arial" panose="020B0604020202020204" pitchFamily="34" charset="0"/>
              <a:buNone/>
              <a:tabLst/>
              <a:defRPr/>
            </a:pPr>
            <a:r>
              <a:rPr lang="en-US" sz="1200" b="1" i="0" u="none" strike="noStrike" kern="1200">
                <a:solidFill>
                  <a:srgbClr val="000000"/>
                </a:solidFill>
                <a:latin typeface="Segoe UI"/>
                <a:ea typeface="+mn-ea"/>
                <a:cs typeface="+mn-cs"/>
              </a:rPr>
              <a:t>We’ve partnered with leading learning providers and learning management systems in the market to make Viva Learning a comprehensive and extensible learning platform. Providers like Pluralsight, Coursera, Go1 and the others on the slide offer breadth and depth of learning content spanning industries, roles, and subjects. And our three LMS partners, Cornerstone OnDemand, SAP SuccessFactors, and Saba Cloud bring advanced learning features to Viva Learning too, like assignments and learner records. We’re also integrating Workday as an LMS partner, and building Graph APIs which will allow you to connect any learning provider or learning management system to your Viva Learning tenant, even if they aren’t one of our pre-configured partners.</a:t>
            </a:r>
            <a:endParaRPr lang="en-US" sz="1200" b="1" i="0" u="none" strike="noStrike" kern="1200">
              <a:solidFill>
                <a:srgbClr val="000000"/>
              </a:solidFill>
              <a:latin typeface="Segoe UI"/>
              <a:cs typeface="Segoe UI"/>
            </a:endParaRPr>
          </a:p>
          <a:p>
            <a:pPr marL="0" marR="0" lvl="0" indent="0" algn="l" defTabSz="914400" rtl="0" eaLnBrk="1" fontAlgn="auto" latinLnBrk="0" hangingPunct="1">
              <a:lnSpc>
                <a:spcPct val="107000"/>
              </a:lnSpc>
              <a:spcBef>
                <a:spcPts val="0"/>
              </a:spcBef>
              <a:spcAft>
                <a:spcPts val="800"/>
              </a:spcAft>
              <a:buClrTx/>
              <a:buSzTx/>
              <a:buFont typeface="Arial" panose="020B0604020202020204" pitchFamily="34" charset="0"/>
              <a:buNone/>
              <a:tabLst/>
              <a:defRPr/>
            </a:pPr>
            <a:endParaRPr lang="en-US" sz="1200" b="0" i="0" u="none" strike="noStrike" kern="1200">
              <a:solidFill>
                <a:srgbClr val="000000"/>
              </a:solidFill>
              <a:latin typeface="Segoe UI"/>
              <a:ea typeface="+mn-ea"/>
              <a:cs typeface="+mn-cs"/>
            </a:endParaRPr>
          </a:p>
          <a:p>
            <a:pPr marL="0" marR="0" lvl="0" indent="0" algn="l" defTabSz="914400" rtl="0" eaLnBrk="1" fontAlgn="auto" latinLnBrk="0" hangingPunct="1">
              <a:lnSpc>
                <a:spcPct val="107000"/>
              </a:lnSpc>
              <a:spcBef>
                <a:spcPts val="0"/>
              </a:spcBef>
              <a:spcAft>
                <a:spcPts val="800"/>
              </a:spcAft>
              <a:buClrTx/>
              <a:buSzTx/>
              <a:buFont typeface="Arial" panose="020B0604020202020204" pitchFamily="34" charset="0"/>
              <a:buNone/>
              <a:tabLst/>
              <a:defRPr/>
            </a:pPr>
            <a:r>
              <a:rPr lang="en-US" sz="1200" b="0" i="0" u="none" strike="noStrike" kern="1200">
                <a:solidFill>
                  <a:srgbClr val="000000"/>
                </a:solidFill>
                <a:latin typeface="Segoe UI"/>
                <a:ea typeface="+mn-ea"/>
                <a:cs typeface="+mn-cs"/>
              </a:rPr>
              <a:t>Underneath all of this is the Microsoft Graph. Like most Microsoft solutions, Viva Learning connects with your organization’s Azure Active Directory so users can connect with colleagues and workgroups throughout their learning experience. As we continue to build deeper personalization features, Viva Learning will also become more intelligent, providing system-generated learning recommendations based on your work activity, network, role, and more.</a:t>
            </a:r>
          </a:p>
          <a:p>
            <a:pPr marL="0" marR="0" indent="0">
              <a:lnSpc>
                <a:spcPct val="107000"/>
              </a:lnSpc>
              <a:spcBef>
                <a:spcPts val="0"/>
              </a:spcBef>
              <a:spcAft>
                <a:spcPts val="800"/>
              </a:spcAft>
              <a:buFont typeface="Arial" panose="020B0604020202020204" pitchFamily="34" charset="0"/>
              <a:buNone/>
            </a:pPr>
            <a:endParaRPr lang="en-US" sz="1200" b="0">
              <a:effectLst/>
              <a:latin typeface="Calibri" panose="020F0502020204030204" pitchFamily="34" charset="0"/>
              <a:ea typeface="Calibri" panose="020F0502020204030204" pitchFamily="34" charset="0"/>
              <a:cs typeface="Times New Roman" panose="02020603050405020304" pitchFamily="18" charset="0"/>
            </a:endParaRPr>
          </a:p>
          <a:p>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9ACB7E-8B57-4042-AB70-7272828DB56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19915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16574EE-8191-4BCC-ABE6-D00A4F4D769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28/2022 8:4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767170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endParaRPr lang="en-US"/>
          </a:p>
          <a:p>
            <a:r>
              <a:rPr lang="en-US"/>
              <a:t>Starting with the How – How the Learning sources integration work today in Viva Learning through OOB integrations &amp; Graph APIs. This diagram helps explain the same.</a:t>
            </a:r>
          </a:p>
          <a:p>
            <a:r>
              <a:rPr lang="en-US"/>
              <a:t>There are 2 use cases that we are supporting – a. Content catalog sync – Users can discover the content from their LMS/ 3P sources within Viva Learning &amp; consume the content within the provider platform. B. Learner Record sync – Users can discover their Assigned as well as completed trainings from their learning provider within Viva Learning.</a:t>
            </a:r>
          </a:p>
          <a:p>
            <a:r>
              <a:rPr lang="en-US"/>
              <a:t>Now, let’s look at how these integrations work through this diagram – Starting from the right side, we have LMS/ 3P sources with the learning content &amp; assignment &amp; completion records. These records are pulled into Viva Learning using the OOB integration connector – The records are fetched by the </a:t>
            </a:r>
            <a:r>
              <a:rPr lang="en-US" err="1"/>
              <a:t>fetchr</a:t>
            </a:r>
            <a:r>
              <a:rPr lang="en-US"/>
              <a:t> post which the data is processed and synced into the Viva Learning data store from where this data is surfaced within Viva Learning. Now, using the Graph APIs, these content &amp; learner records can be pushed into the Viva Learning using the content sync &amp; Assignment &amp; completion sync APIs available, post which these records will be synced into the Viva Learning data store &amp; then surfaced within Viva Learning. As you can see on the left hand side the learning content &amp; learner’s assignments &amp; completed courses are surfaced within Viva Learning.</a:t>
            </a:r>
          </a:p>
          <a:p>
            <a:endParaRPr lang="en-US"/>
          </a:p>
          <a:p>
            <a:r>
              <a:rPr lang="en-US"/>
              <a:t>Take a pause after covering the slide for questions. </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8/2022 8:41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878170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Now that we have covered the How, let’s look at the different APIs supported in Viva Learning along with the scenarios for each. Starting with the content sync APIs – These APIs allow you to sync in content for a tenant within Viva Learning. The scenarios supported are – Provider registration to register the provider, you can also enable/ disable &amp; update the registered provider. You can use the provider registration id for content ingestion. The other scenarios supported are CRUD operations for the content, so you can ingest the learning content &amp; update/ delete &amp; retrieve the ingested learning content.</a:t>
            </a:r>
          </a:p>
          <a:p>
            <a:pPr>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Moving on to the Assignment sync APIs. These APIs help sync in the learner’s assignments within Viva Learning. The scenarios supported are – You can ingest the assignment record for the learner &amp; the learning content. And also update/ delete/ retrieve the ingested assignment record. You can also retrieve all the assignments for a learner &amp; retrieve all the assignments for a learner for a learning content.</a:t>
            </a:r>
          </a:p>
          <a:p>
            <a:pPr>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Next we have completion sync APIs. These APIs help sync in the learner’s completed trainings within Viva Learning. The scenarios supported are – You can ingest the completion record for the learner &amp; the learning content. And also update/ delete/ retrieve the ingested completion record. You can also retrieve all the completion records for a learner.</a:t>
            </a:r>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FE367CC2-276B-4AF6-83D6-A7973CE79C4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36329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Now let’s look at how the content will be visible within Viva Learning post the ingestion. The content will appear in the Home page, in the Browse courses section under the Providers tab. The courses will appear under the carousel, you can choose the display name under which you want the courses to appear.</a:t>
            </a:r>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FE367CC2-276B-4AF6-83D6-A7973CE79C4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8214275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jpeg"/><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3.xml"/><Relationship Id="rId4" Type="http://schemas.openxmlformats.org/officeDocument/2006/relationships/image" Target="../media/image11.jpeg"/></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3.xml"/><Relationship Id="rId5" Type="http://schemas.openxmlformats.org/officeDocument/2006/relationships/image" Target="../media/image18.jpeg"/><Relationship Id="rId4" Type="http://schemas.openxmlformats.org/officeDocument/2006/relationships/image" Target="../media/image11.jpeg"/></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Master" Target="../slideMasters/slideMaster3.xml"/><Relationship Id="rId4" Type="http://schemas.openxmlformats.org/officeDocument/2006/relationships/image" Target="../media/image23.jpeg"/></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Master" Target="../slideMasters/slideMaster3.xml"/><Relationship Id="rId5" Type="http://schemas.openxmlformats.org/officeDocument/2006/relationships/image" Target="../media/image27.jpeg"/><Relationship Id="rId4" Type="http://schemas.openxmlformats.org/officeDocument/2006/relationships/image" Target="../media/image26.jpeg"/></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3.xml"/><Relationship Id="rId6" Type="http://schemas.openxmlformats.org/officeDocument/2006/relationships/image" Target="../media/image28.jpeg"/><Relationship Id="rId5" Type="http://schemas.openxmlformats.org/officeDocument/2006/relationships/image" Target="../media/image18.jpeg"/><Relationship Id="rId4" Type="http://schemas.openxmlformats.org/officeDocument/2006/relationships/image" Target="../media/image11.jpe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3.xml"/><Relationship Id="rId4" Type="http://schemas.openxmlformats.org/officeDocument/2006/relationships/image" Target="../media/image11.jpeg"/></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3.xml"/><Relationship Id="rId5" Type="http://schemas.openxmlformats.org/officeDocument/2006/relationships/image" Target="../media/image18.jpeg"/><Relationship Id="rId4" Type="http://schemas.openxmlformats.org/officeDocument/2006/relationships/image" Target="../media/image11.jpeg"/></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3.xml"/><Relationship Id="rId6" Type="http://schemas.openxmlformats.org/officeDocument/2006/relationships/image" Target="../media/image28.jpeg"/><Relationship Id="rId5" Type="http://schemas.openxmlformats.org/officeDocument/2006/relationships/image" Target="../media/image18.jpeg"/><Relationship Id="rId4" Type="http://schemas.openxmlformats.org/officeDocument/2006/relationships/image" Target="../media/image11.jpeg"/></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57.emf"/><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 Id="rId6" Type="http://schemas.openxmlformats.org/officeDocument/2006/relationships/image" Target="../media/image59.jpeg"/><Relationship Id="rId5" Type="http://schemas.openxmlformats.org/officeDocument/2006/relationships/image" Target="../media/image58.svg"/><Relationship Id="rId4" Type="http://schemas.openxmlformats.org/officeDocument/2006/relationships/image" Target="../media/image40.png"/></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4.xml"/><Relationship Id="rId4" Type="http://schemas.openxmlformats.org/officeDocument/2006/relationships/image" Target="../media/image11.jpeg"/></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4.xml"/><Relationship Id="rId5" Type="http://schemas.openxmlformats.org/officeDocument/2006/relationships/image" Target="../media/image18.jpeg"/><Relationship Id="rId4" Type="http://schemas.openxmlformats.org/officeDocument/2006/relationships/image" Target="../media/image11.jpeg"/></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Master" Target="../slideMasters/slideMaster4.xml"/><Relationship Id="rId4" Type="http://schemas.openxmlformats.org/officeDocument/2006/relationships/image" Target="../media/image23.jpeg"/></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Master" Target="../slideMasters/slideMaster4.xml"/><Relationship Id="rId5" Type="http://schemas.openxmlformats.org/officeDocument/2006/relationships/image" Target="../media/image27.jpeg"/><Relationship Id="rId4" Type="http://schemas.openxmlformats.org/officeDocument/2006/relationships/image" Target="../media/image26.jpeg"/></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4.xml"/><Relationship Id="rId6" Type="http://schemas.openxmlformats.org/officeDocument/2006/relationships/image" Target="../media/image28.jpeg"/><Relationship Id="rId5" Type="http://schemas.openxmlformats.org/officeDocument/2006/relationships/image" Target="../media/image18.jpeg"/><Relationship Id="rId4" Type="http://schemas.openxmlformats.org/officeDocument/2006/relationships/image" Target="../media/image11.jpeg"/></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4.xml"/><Relationship Id="rId4" Type="http://schemas.openxmlformats.org/officeDocument/2006/relationships/image" Target="../media/image11.jpeg"/></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4.xml"/><Relationship Id="rId5" Type="http://schemas.openxmlformats.org/officeDocument/2006/relationships/image" Target="../media/image18.jpeg"/><Relationship Id="rId4" Type="http://schemas.openxmlformats.org/officeDocument/2006/relationships/image" Target="../media/image11.jpeg"/></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4.xml"/><Relationship Id="rId6" Type="http://schemas.openxmlformats.org/officeDocument/2006/relationships/image" Target="../media/image28.jpeg"/><Relationship Id="rId5" Type="http://schemas.openxmlformats.org/officeDocument/2006/relationships/image" Target="../media/image18.jpeg"/><Relationship Id="rId4" Type="http://schemas.openxmlformats.org/officeDocument/2006/relationships/image" Target="../media/image11.jpeg"/></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61.svg"/><Relationship Id="rId2" Type="http://schemas.openxmlformats.org/officeDocument/2006/relationships/image" Target="../media/image60.png"/><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61.svg"/><Relationship Id="rId2" Type="http://schemas.openxmlformats.org/officeDocument/2006/relationships/image" Target="../media/image60.png"/><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7" Type="http://schemas.openxmlformats.org/officeDocument/2006/relationships/image" Target="../media/image10.jpe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9.emf"/><Relationship Id="rId5" Type="http://schemas.openxmlformats.org/officeDocument/2006/relationships/image" Target="../media/image8.svg"/><Relationship Id="rId4" Type="http://schemas.openxmlformats.org/officeDocument/2006/relationships/image" Target="../media/image7.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1.xml"/><Relationship Id="rId4" Type="http://schemas.openxmlformats.org/officeDocument/2006/relationships/image" Target="../media/image11.jpe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1.xml"/><Relationship Id="rId5" Type="http://schemas.openxmlformats.org/officeDocument/2006/relationships/image" Target="../media/image18.jpeg"/><Relationship Id="rId4" Type="http://schemas.openxmlformats.org/officeDocument/2006/relationships/image" Target="../media/image11.jpe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Master" Target="../slideMasters/slideMaster1.xml"/><Relationship Id="rId4" Type="http://schemas.openxmlformats.org/officeDocument/2006/relationships/image" Target="../media/image23.jpe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Master" Target="../slideMasters/slideMaster1.xml"/><Relationship Id="rId5" Type="http://schemas.openxmlformats.org/officeDocument/2006/relationships/image" Target="../media/image27.jpeg"/><Relationship Id="rId4" Type="http://schemas.openxmlformats.org/officeDocument/2006/relationships/image" Target="../media/image26.jpe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1.xml"/><Relationship Id="rId6" Type="http://schemas.openxmlformats.org/officeDocument/2006/relationships/image" Target="../media/image28.jpeg"/><Relationship Id="rId5" Type="http://schemas.openxmlformats.org/officeDocument/2006/relationships/image" Target="../media/image18.jpeg"/><Relationship Id="rId4" Type="http://schemas.openxmlformats.org/officeDocument/2006/relationships/image" Target="../media/image11.jpe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1.xml"/><Relationship Id="rId4" Type="http://schemas.openxmlformats.org/officeDocument/2006/relationships/image" Target="../media/image11.jpe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1.xml"/><Relationship Id="rId5" Type="http://schemas.openxmlformats.org/officeDocument/2006/relationships/image" Target="../media/image18.jpeg"/><Relationship Id="rId4" Type="http://schemas.openxmlformats.org/officeDocument/2006/relationships/image" Target="../media/image11.jpe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1.xml"/><Relationship Id="rId6" Type="http://schemas.openxmlformats.org/officeDocument/2006/relationships/image" Target="../media/image28.jpeg"/><Relationship Id="rId5" Type="http://schemas.openxmlformats.org/officeDocument/2006/relationships/image" Target="../media/image18.jpeg"/><Relationship Id="rId4" Type="http://schemas.openxmlformats.org/officeDocument/2006/relationships/image" Target="../media/image11.jpeg"/></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Master" Target="../slideMasters/slideMaster1.xml"/><Relationship Id="rId4" Type="http://schemas.openxmlformats.org/officeDocument/2006/relationships/image" Target="../media/image31.jpe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Master" Target="../slideMasters/slideMaster1.xml"/><Relationship Id="rId5" Type="http://schemas.openxmlformats.org/officeDocument/2006/relationships/image" Target="../media/image31.jpeg"/><Relationship Id="rId4" Type="http://schemas.openxmlformats.org/officeDocument/2006/relationships/image" Target="../media/image30.png"/></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5.png"/><Relationship Id="rId1" Type="http://schemas.openxmlformats.org/officeDocument/2006/relationships/slideMaster" Target="../slideMasters/slideMaster1.xml"/><Relationship Id="rId6" Type="http://schemas.openxmlformats.org/officeDocument/2006/relationships/image" Target="../media/image39.emf"/><Relationship Id="rId5" Type="http://schemas.openxmlformats.org/officeDocument/2006/relationships/image" Target="../media/image38.jpeg"/><Relationship Id="rId4" Type="http://schemas.openxmlformats.org/officeDocument/2006/relationships/image" Target="../media/image37.jpe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4.png"/><Relationship Id="rId1" Type="http://schemas.openxmlformats.org/officeDocument/2006/relationships/slideMaster" Target="../slideMasters/slideMaster1.xml"/><Relationship Id="rId5" Type="http://schemas.openxmlformats.org/officeDocument/2006/relationships/image" Target="../media/image39.emf"/><Relationship Id="rId4" Type="http://schemas.openxmlformats.org/officeDocument/2006/relationships/image" Target="../media/image38.jpe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Master" Target="../slideMasters/slideMaster1.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42.jpeg"/></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image" Target="../media/image46.jpeg"/><Relationship Id="rId1" Type="http://schemas.openxmlformats.org/officeDocument/2006/relationships/slideMaster" Target="../slideMasters/slideMaster2.xml"/><Relationship Id="rId5" Type="http://schemas.openxmlformats.org/officeDocument/2006/relationships/image" Target="../media/image49.svg"/><Relationship Id="rId4" Type="http://schemas.openxmlformats.org/officeDocument/2006/relationships/image" Target="../media/image48.png"/></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2.png"/><Relationship Id="rId1" Type="http://schemas.openxmlformats.org/officeDocument/2006/relationships/slideMaster" Target="../slideMasters/slideMaster2.xml"/><Relationship Id="rId4" Type="http://schemas.openxmlformats.org/officeDocument/2006/relationships/image" Target="../media/image49.sv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image" Target="../media/image53.jpeg"/><Relationship Id="rId1" Type="http://schemas.openxmlformats.org/officeDocument/2006/relationships/slideMaster" Target="../slideMasters/slideMaster3.xml"/><Relationship Id="rId4" Type="http://schemas.openxmlformats.org/officeDocument/2006/relationships/image" Target="../media/image54.png"/></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bg1">
            <a:lumMod val="95000"/>
          </a:schemeClr>
        </a:solidFill>
        <a:effectLst/>
      </p:bgPr>
    </p:bg>
    <p:spTree>
      <p:nvGrpSpPr>
        <p:cNvPr id="1" name=""/>
        <p:cNvGrpSpPr/>
        <p:nvPr/>
      </p:nvGrpSpPr>
      <p:grpSpPr>
        <a:xfrm>
          <a:off x="0" y="0"/>
          <a:ext cx="0" cy="0"/>
          <a:chOff x="0" y="0"/>
          <a:chExt cx="0" cy="0"/>
        </a:xfrm>
      </p:grpSpPr>
      <p:sp>
        <p:nvSpPr>
          <p:cNvPr id="21" name="Freeform: Shape 20">
            <a:extLst>
              <a:ext uri="{FF2B5EF4-FFF2-40B4-BE49-F238E27FC236}">
                <a16:creationId xmlns:a16="http://schemas.microsoft.com/office/drawing/2014/main" id="{AA7CFF66-3490-45B8-9C43-861131254FFB}"/>
              </a:ext>
            </a:extLst>
          </p:cNvPr>
          <p:cNvSpPr/>
          <p:nvPr userDrawn="1"/>
        </p:nvSpPr>
        <p:spPr bwMode="auto">
          <a:xfrm rot="8101561">
            <a:off x="7310611" y="1379860"/>
            <a:ext cx="2562694" cy="6102892"/>
          </a:xfrm>
          <a:custGeom>
            <a:avLst/>
            <a:gdLst>
              <a:gd name="connsiteX0" fmla="*/ 375297 w 2562694"/>
              <a:gd name="connsiteY0" fmla="*/ 5727594 h 6102892"/>
              <a:gd name="connsiteX1" fmla="*/ 0 w 2562694"/>
              <a:gd name="connsiteY1" fmla="*/ 4821545 h 6102892"/>
              <a:gd name="connsiteX2" fmla="*/ 0 w 2562694"/>
              <a:gd name="connsiteY2" fmla="*/ 1281347 h 6102892"/>
              <a:gd name="connsiteX3" fmla="*/ 1281347 w 2562694"/>
              <a:gd name="connsiteY3" fmla="*/ 0 h 6102892"/>
              <a:gd name="connsiteX4" fmla="*/ 1539584 w 2562694"/>
              <a:gd name="connsiteY4" fmla="*/ 26032 h 6102892"/>
              <a:gd name="connsiteX5" fmla="*/ 1655396 w 2562694"/>
              <a:gd name="connsiteY5" fmla="*/ 55811 h 6102892"/>
              <a:gd name="connsiteX6" fmla="*/ 2506616 w 2562694"/>
              <a:gd name="connsiteY6" fmla="*/ 906258 h 6102892"/>
              <a:gd name="connsiteX7" fmla="*/ 2536661 w 2562694"/>
              <a:gd name="connsiteY7" fmla="*/ 1023111 h 6102892"/>
              <a:gd name="connsiteX8" fmla="*/ 2562694 w 2562694"/>
              <a:gd name="connsiteY8" fmla="*/ 1281347 h 6102892"/>
              <a:gd name="connsiteX9" fmla="*/ 2562694 w 2562694"/>
              <a:gd name="connsiteY9" fmla="*/ 4821545 h 6102892"/>
              <a:gd name="connsiteX10" fmla="*/ 1281347 w 2562694"/>
              <a:gd name="connsiteY10" fmla="*/ 6102892 h 6102892"/>
              <a:gd name="connsiteX11" fmla="*/ 375297 w 2562694"/>
              <a:gd name="connsiteY11" fmla="*/ 5727594 h 6102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62694" h="6102892">
                <a:moveTo>
                  <a:pt x="375297" y="5727594"/>
                </a:moveTo>
                <a:cubicBezTo>
                  <a:pt x="143419" y="5495716"/>
                  <a:pt x="0" y="5175379"/>
                  <a:pt x="0" y="4821545"/>
                </a:cubicBezTo>
                <a:lnTo>
                  <a:pt x="0" y="1281347"/>
                </a:lnTo>
                <a:cubicBezTo>
                  <a:pt x="0" y="573678"/>
                  <a:pt x="573679" y="0"/>
                  <a:pt x="1281347" y="0"/>
                </a:cubicBezTo>
                <a:cubicBezTo>
                  <a:pt x="1369806" y="0"/>
                  <a:pt x="1456170" y="8963"/>
                  <a:pt x="1539584" y="26032"/>
                </a:cubicBezTo>
                <a:lnTo>
                  <a:pt x="1655396" y="55811"/>
                </a:lnTo>
                <a:lnTo>
                  <a:pt x="2506616" y="906258"/>
                </a:lnTo>
                <a:lnTo>
                  <a:pt x="2536661" y="1023111"/>
                </a:lnTo>
                <a:cubicBezTo>
                  <a:pt x="2553730" y="1106523"/>
                  <a:pt x="2562694" y="1192889"/>
                  <a:pt x="2562694" y="1281347"/>
                </a:cubicBezTo>
                <a:lnTo>
                  <a:pt x="2562694" y="4821545"/>
                </a:lnTo>
                <a:cubicBezTo>
                  <a:pt x="2562694" y="5529212"/>
                  <a:pt x="1989015" y="6102892"/>
                  <a:pt x="1281347" y="6102892"/>
                </a:cubicBezTo>
                <a:cubicBezTo>
                  <a:pt x="927513" y="6102892"/>
                  <a:pt x="607176" y="5959472"/>
                  <a:pt x="375297" y="5727594"/>
                </a:cubicBezTo>
                <a:close/>
              </a:path>
            </a:pathLst>
          </a:custGeom>
          <a:solidFill>
            <a:srgbClr val="9BF00B">
              <a:alpha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defTabSz="914400" eaLnBrk="1" fontAlgn="auto" latinLnBrk="0" hangingPunct="1">
              <a:lnSpc>
                <a:spcPct val="107000"/>
              </a:lnSpc>
              <a:spcBef>
                <a:spcPts val="0"/>
              </a:spcBef>
              <a:spcAft>
                <a:spcPts val="800"/>
              </a:spcAft>
              <a:buClrTx/>
              <a:buSzTx/>
              <a:buFont typeface="Arial" panose="020B0604020202020204" pitchFamily="34" charset="0"/>
              <a:buChar char="•"/>
              <a:tabLst/>
              <a:defRPr/>
            </a:pPr>
            <a:endParaRPr kumimoji="0" lang="en-US" sz="1800" b="1" i="0" u="none" strike="noStrike" kern="0" cap="none" spc="0" normalizeH="0" baseline="0" noProof="0">
              <a:ln>
                <a:noFill/>
              </a:ln>
              <a:solidFill>
                <a:srgbClr val="282828"/>
              </a:solidFill>
              <a:effectLst/>
              <a:uLnTx/>
              <a:uFillTx/>
              <a:latin typeface="Segoe UI"/>
              <a:ea typeface="Times New Roman" panose="02020603050405020304" pitchFamily="18" charset="0"/>
              <a:cs typeface="Times New Roman" panose="02020603050405020304" pitchFamily="18" charset="0"/>
            </a:endParaRPr>
          </a:p>
        </p:txBody>
      </p:sp>
      <p:sp>
        <p:nvSpPr>
          <p:cNvPr id="22" name="Freeform: Shape 21">
            <a:extLst>
              <a:ext uri="{FF2B5EF4-FFF2-40B4-BE49-F238E27FC236}">
                <a16:creationId xmlns:a16="http://schemas.microsoft.com/office/drawing/2014/main" id="{6E25ABC1-57F1-4127-A90C-17D7DF2A79AE}"/>
              </a:ext>
            </a:extLst>
          </p:cNvPr>
          <p:cNvSpPr/>
          <p:nvPr userDrawn="1"/>
        </p:nvSpPr>
        <p:spPr bwMode="auto">
          <a:xfrm>
            <a:off x="7848396" y="-17725"/>
            <a:ext cx="2535119" cy="1935317"/>
          </a:xfrm>
          <a:custGeom>
            <a:avLst/>
            <a:gdLst>
              <a:gd name="connsiteX0" fmla="*/ 190064 w 2535119"/>
              <a:gd name="connsiteY0" fmla="*/ 0 h 1935317"/>
              <a:gd name="connsiteX1" fmla="*/ 565645 w 2535119"/>
              <a:gd name="connsiteY1" fmla="*/ 0 h 1935317"/>
              <a:gd name="connsiteX2" fmla="*/ 463885 w 2535119"/>
              <a:gd name="connsiteY2" fmla="*/ 123496 h 1935317"/>
              <a:gd name="connsiteX3" fmla="*/ 298361 w 2535119"/>
              <a:gd name="connsiteY3" fmla="*/ 666095 h 1935317"/>
              <a:gd name="connsiteX4" fmla="*/ 1267559 w 2535119"/>
              <a:gd name="connsiteY4" fmla="*/ 1636565 h 1935317"/>
              <a:gd name="connsiteX5" fmla="*/ 2236759 w 2535119"/>
              <a:gd name="connsiteY5" fmla="*/ 666095 h 1935317"/>
              <a:gd name="connsiteX6" fmla="*/ 2071235 w 2535119"/>
              <a:gd name="connsiteY6" fmla="*/ 123496 h 1935317"/>
              <a:gd name="connsiteX7" fmla="*/ 1969475 w 2535119"/>
              <a:gd name="connsiteY7" fmla="*/ 0 h 1935317"/>
              <a:gd name="connsiteX8" fmla="*/ 2345056 w 2535119"/>
              <a:gd name="connsiteY8" fmla="*/ 0 h 1935317"/>
              <a:gd name="connsiteX9" fmla="*/ 2382131 w 2535119"/>
              <a:gd name="connsiteY9" fmla="*/ 61109 h 1935317"/>
              <a:gd name="connsiteX10" fmla="*/ 2535119 w 2535119"/>
              <a:gd name="connsiteY10" fmla="*/ 666095 h 1935317"/>
              <a:gd name="connsiteX11" fmla="*/ 1267559 w 2535119"/>
              <a:gd name="connsiteY11" fmla="*/ 1935317 h 1935317"/>
              <a:gd name="connsiteX12" fmla="*/ 0 w 2535119"/>
              <a:gd name="connsiteY12" fmla="*/ 666095 h 1935317"/>
              <a:gd name="connsiteX13" fmla="*/ 152988 w 2535119"/>
              <a:gd name="connsiteY13" fmla="*/ 61109 h 1935317"/>
              <a:gd name="connsiteX14" fmla="*/ 190064 w 2535119"/>
              <a:gd name="connsiteY14" fmla="*/ 0 h 1935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535119" h="1935317">
                <a:moveTo>
                  <a:pt x="190064" y="0"/>
                </a:moveTo>
                <a:lnTo>
                  <a:pt x="565645" y="0"/>
                </a:lnTo>
                <a:lnTo>
                  <a:pt x="463885" y="123496"/>
                </a:lnTo>
                <a:cubicBezTo>
                  <a:pt x="359382" y="278384"/>
                  <a:pt x="298361" y="465104"/>
                  <a:pt x="298361" y="666095"/>
                </a:cubicBezTo>
                <a:cubicBezTo>
                  <a:pt x="298361" y="1202070"/>
                  <a:pt x="732286" y="1636565"/>
                  <a:pt x="1267559" y="1636565"/>
                </a:cubicBezTo>
                <a:cubicBezTo>
                  <a:pt x="1802833" y="1636565"/>
                  <a:pt x="2236759" y="1202070"/>
                  <a:pt x="2236759" y="666095"/>
                </a:cubicBezTo>
                <a:cubicBezTo>
                  <a:pt x="2236759" y="465104"/>
                  <a:pt x="2175738" y="278384"/>
                  <a:pt x="2071235" y="123496"/>
                </a:cubicBezTo>
                <a:lnTo>
                  <a:pt x="1969475" y="0"/>
                </a:lnTo>
                <a:lnTo>
                  <a:pt x="2345056" y="0"/>
                </a:lnTo>
                <a:lnTo>
                  <a:pt x="2382131" y="61109"/>
                </a:lnTo>
                <a:cubicBezTo>
                  <a:pt x="2479698" y="240949"/>
                  <a:pt x="2535119" y="447042"/>
                  <a:pt x="2535119" y="666095"/>
                </a:cubicBezTo>
                <a:cubicBezTo>
                  <a:pt x="2535119" y="1367066"/>
                  <a:pt x="1967613" y="1935317"/>
                  <a:pt x="1267559" y="1935317"/>
                </a:cubicBezTo>
                <a:cubicBezTo>
                  <a:pt x="567507" y="1935317"/>
                  <a:pt x="0" y="1367066"/>
                  <a:pt x="0" y="666095"/>
                </a:cubicBezTo>
                <a:cubicBezTo>
                  <a:pt x="0" y="447042"/>
                  <a:pt x="55421" y="240949"/>
                  <a:pt x="152988" y="61109"/>
                </a:cubicBezTo>
                <a:lnTo>
                  <a:pt x="190064" y="0"/>
                </a:lnTo>
                <a:close/>
              </a:path>
            </a:pathLst>
          </a:custGeom>
          <a:solidFill>
            <a:srgbClr val="30E5D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defTabSz="914400" eaLnBrk="1" fontAlgn="auto" latinLnBrk="0" hangingPunct="1">
              <a:lnSpc>
                <a:spcPct val="107000"/>
              </a:lnSpc>
              <a:spcBef>
                <a:spcPts val="0"/>
              </a:spcBef>
              <a:spcAft>
                <a:spcPts val="800"/>
              </a:spcAft>
              <a:buClrTx/>
              <a:buSzTx/>
              <a:buFont typeface="Arial" panose="020B0604020202020204" pitchFamily="34" charset="0"/>
              <a:buChar char="•"/>
              <a:tabLst/>
              <a:defRPr/>
            </a:pPr>
            <a:endParaRPr kumimoji="0" lang="en-US" sz="1800" b="1" i="0" u="none" strike="noStrike" kern="0" cap="none" spc="0" normalizeH="0" baseline="0" noProof="0">
              <a:ln>
                <a:noFill/>
              </a:ln>
              <a:solidFill>
                <a:srgbClr val="282828"/>
              </a:solidFill>
              <a:effectLst/>
              <a:uLnTx/>
              <a:uFillTx/>
              <a:latin typeface="Segoe UI"/>
              <a:ea typeface="Times New Roman" panose="02020603050405020304" pitchFamily="18" charset="0"/>
              <a:cs typeface="Times New Roman" panose="02020603050405020304" pitchFamily="18" charset="0"/>
            </a:endParaRPr>
          </a:p>
        </p:txBody>
      </p:sp>
      <p:sp>
        <p:nvSpPr>
          <p:cNvPr id="9" name="Title 1"/>
          <p:cNvSpPr>
            <a:spLocks noGrp="1"/>
          </p:cNvSpPr>
          <p:nvPr>
            <p:ph type="title" hasCustomPrompt="1"/>
          </p:nvPr>
        </p:nvSpPr>
        <p:spPr>
          <a:xfrm>
            <a:off x="584199" y="2425780"/>
            <a:ext cx="6194287" cy="1107996"/>
          </a:xfrm>
          <a:noFill/>
        </p:spPr>
        <p:txBody>
          <a:bodyPr wrap="square" lIns="0" tIns="0" rIns="0" bIns="0" anchor="b" anchorCtr="0">
            <a:spAutoFit/>
          </a:bodyPr>
          <a:lstStyle>
            <a:lvl1pPr>
              <a:defRPr sz="3600" spc="-50" baseline="0">
                <a:solidFill>
                  <a:srgbClr val="000000"/>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298440" cy="246221"/>
          </a:xfrm>
          <a:noFill/>
        </p:spPr>
        <p:txBody>
          <a:bodyPr wrap="square" lIns="0" tIns="0" rIns="0" bIns="0">
            <a:spAutoFit/>
          </a:bodyPr>
          <a:lstStyle>
            <a:lvl1pPr marL="0" indent="0">
              <a:spcBef>
                <a:spcPts val="0"/>
              </a:spcBef>
              <a:buNone/>
              <a:defRPr sz="1600" spc="0" baseline="0">
                <a:solidFill>
                  <a:srgbClr val="000000"/>
                </a:solidFill>
                <a:latin typeface="+mn-lt"/>
                <a:cs typeface="Segoe UI" panose="020B0502040204020203" pitchFamily="34" charset="0"/>
              </a:defRPr>
            </a:lvl1pPr>
          </a:lstStyle>
          <a:p>
            <a:pPr lvl="0"/>
            <a:r>
              <a:rPr lang="en-US"/>
              <a:t>Speaker name or subtitle text</a:t>
            </a:r>
          </a:p>
        </p:txBody>
      </p:sp>
      <p:pic>
        <p:nvPicPr>
          <p:cNvPr id="6" name="Graphic 5" descr="Microsoft 365 logo">
            <a:extLst>
              <a:ext uri="{FF2B5EF4-FFF2-40B4-BE49-F238E27FC236}">
                <a16:creationId xmlns:a16="http://schemas.microsoft.com/office/drawing/2014/main" id="{A1EC0980-DE5C-48B2-8CAF-573B5C4B249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84200" y="585788"/>
            <a:ext cx="1812544" cy="292608"/>
          </a:xfrm>
          <a:prstGeom prst="rect">
            <a:avLst/>
          </a:prstGeom>
        </p:spPr>
      </p:pic>
      <p:sp>
        <p:nvSpPr>
          <p:cNvPr id="7" name="TextBox 6">
            <a:extLst>
              <a:ext uri="{FF2B5EF4-FFF2-40B4-BE49-F238E27FC236}">
                <a16:creationId xmlns:a16="http://schemas.microsoft.com/office/drawing/2014/main" id="{0030B113-1642-44F7-8579-BF86F20200EE}"/>
              </a:ext>
            </a:extLst>
          </p:cNvPr>
          <p:cNvSpPr txBox="1"/>
          <p:nvPr userDrawn="1"/>
        </p:nvSpPr>
        <p:spPr>
          <a:xfrm>
            <a:off x="584200" y="6024632"/>
            <a:ext cx="2278743" cy="307777"/>
          </a:xfrm>
          <a:prstGeom prst="rect">
            <a:avLst/>
          </a:prstGeom>
          <a:noFill/>
        </p:spPr>
        <p:txBody>
          <a:bodyPr wrap="square" lIns="0" tIns="0" rIns="0" bIns="0" rtlCol="0">
            <a:spAutoFit/>
          </a:bodyPr>
          <a:lstStyle/>
          <a:p>
            <a:pPr algn="l"/>
            <a:r>
              <a:rPr lang="en-US" sz="2000">
                <a:solidFill>
                  <a:schemeClr val="accent1"/>
                </a:solidFill>
                <a:latin typeface="+mj-lt"/>
              </a:rPr>
              <a:t>Microsoft Viva</a:t>
            </a:r>
          </a:p>
        </p:txBody>
      </p:sp>
      <p:sp>
        <p:nvSpPr>
          <p:cNvPr id="17" name="Freeform: Shape 16">
            <a:extLst>
              <a:ext uri="{FF2B5EF4-FFF2-40B4-BE49-F238E27FC236}">
                <a16:creationId xmlns:a16="http://schemas.microsoft.com/office/drawing/2014/main" id="{D1BFE545-F53F-4F03-B5C0-B5C493498A03}"/>
              </a:ext>
            </a:extLst>
          </p:cNvPr>
          <p:cNvSpPr/>
          <p:nvPr userDrawn="1"/>
        </p:nvSpPr>
        <p:spPr bwMode="auto">
          <a:xfrm rot="2433989">
            <a:off x="9834940" y="1105229"/>
            <a:ext cx="2503089" cy="6323724"/>
          </a:xfrm>
          <a:custGeom>
            <a:avLst/>
            <a:gdLst>
              <a:gd name="connsiteX0" fmla="*/ 0 w 2503089"/>
              <a:gd name="connsiteY0" fmla="*/ 0 h 6323724"/>
              <a:gd name="connsiteX1" fmla="*/ 2503089 w 2503089"/>
              <a:gd name="connsiteY1" fmla="*/ 2923863 h 6323724"/>
              <a:gd name="connsiteX2" fmla="*/ 2503089 w 2503089"/>
              <a:gd name="connsiteY2" fmla="*/ 5072180 h 6323724"/>
              <a:gd name="connsiteX3" fmla="*/ 2446822 w 2503089"/>
              <a:gd name="connsiteY3" fmla="*/ 5444350 h 6323724"/>
              <a:gd name="connsiteX4" fmla="*/ 2417641 w 2503089"/>
              <a:gd name="connsiteY4" fmla="*/ 5524078 h 6323724"/>
              <a:gd name="connsiteX5" fmla="*/ 1517352 w 2503089"/>
              <a:gd name="connsiteY5" fmla="*/ 6294805 h 6323724"/>
              <a:gd name="connsiteX6" fmla="*/ 1503774 w 2503089"/>
              <a:gd name="connsiteY6" fmla="*/ 6298296 h 6323724"/>
              <a:gd name="connsiteX7" fmla="*/ 1251544 w 2503089"/>
              <a:gd name="connsiteY7" fmla="*/ 6323724 h 6323724"/>
              <a:gd name="connsiteX8" fmla="*/ 0 w 2503089"/>
              <a:gd name="connsiteY8" fmla="*/ 5072179 h 6323724"/>
              <a:gd name="connsiteX9" fmla="*/ 0 w 2503089"/>
              <a:gd name="connsiteY9" fmla="*/ 0 h 6323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03089" h="6323724">
                <a:moveTo>
                  <a:pt x="0" y="0"/>
                </a:moveTo>
                <a:lnTo>
                  <a:pt x="2503089" y="2923863"/>
                </a:lnTo>
                <a:lnTo>
                  <a:pt x="2503089" y="5072180"/>
                </a:lnTo>
                <a:cubicBezTo>
                  <a:pt x="2503089" y="5201781"/>
                  <a:pt x="2483390" y="5326781"/>
                  <a:pt x="2446822" y="5444350"/>
                </a:cubicBezTo>
                <a:lnTo>
                  <a:pt x="2417641" y="5524078"/>
                </a:lnTo>
                <a:lnTo>
                  <a:pt x="1517352" y="6294805"/>
                </a:lnTo>
                <a:lnTo>
                  <a:pt x="1503774" y="6298296"/>
                </a:lnTo>
                <a:cubicBezTo>
                  <a:pt x="1422301" y="6314968"/>
                  <a:pt x="1337945" y="6323724"/>
                  <a:pt x="1251544" y="6323724"/>
                </a:cubicBezTo>
                <a:cubicBezTo>
                  <a:pt x="560335" y="6323724"/>
                  <a:pt x="0" y="5763389"/>
                  <a:pt x="0" y="5072179"/>
                </a:cubicBezTo>
                <a:lnTo>
                  <a:pt x="0" y="0"/>
                </a:lnTo>
                <a:close/>
              </a:path>
            </a:pathLst>
          </a:custGeom>
          <a:solidFill>
            <a:srgbClr val="008575"/>
          </a:solidFill>
          <a:ln w="9525" cap="flat" cmpd="sng" algn="ctr">
            <a:noFill/>
            <a:prstDash val="solid"/>
            <a:headEnd type="none" w="med" len="med"/>
            <a:tailEnd type="none" w="med" len="med"/>
          </a:ln>
          <a:effectLst>
            <a:outerShdw blurRad="50800" dist="25400" dir="2700000" algn="tl" rotWithShape="0">
              <a:prstClr val="black">
                <a:alpha val="14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defTabSz="914400" eaLnBrk="1" fontAlgn="auto" latinLnBrk="0" hangingPunct="1">
              <a:lnSpc>
                <a:spcPct val="107000"/>
              </a:lnSpc>
              <a:spcBef>
                <a:spcPts val="0"/>
              </a:spcBef>
              <a:spcAft>
                <a:spcPts val="800"/>
              </a:spcAft>
              <a:buClrTx/>
              <a:buSzTx/>
              <a:buFont typeface="Arial" panose="020B0604020202020204" pitchFamily="34" charset="0"/>
              <a:buChar char="•"/>
              <a:tabLst/>
              <a:defRPr/>
            </a:pPr>
            <a:endParaRPr kumimoji="0" lang="en-US" sz="1800" b="1" i="0" u="none" strike="noStrike" kern="0" cap="none" spc="0" normalizeH="0" baseline="0" noProof="0">
              <a:ln>
                <a:noFill/>
              </a:ln>
              <a:solidFill>
                <a:srgbClr val="282828"/>
              </a:solidFill>
              <a:effectLst/>
              <a:uLnTx/>
              <a:uFillTx/>
              <a:latin typeface="Segoe UI"/>
              <a:ea typeface="Times New Roman" panose="02020603050405020304" pitchFamily="18" charset="0"/>
              <a:cs typeface="Times New Roman" panose="02020603050405020304" pitchFamily="18" charset="0"/>
            </a:endParaRPr>
          </a:p>
        </p:txBody>
      </p:sp>
      <p:pic>
        <p:nvPicPr>
          <p:cNvPr id="18" name="Picture 17" descr="A person working on a computer&#10;&#10;Description automatically generated with low confidence">
            <a:extLst>
              <a:ext uri="{FF2B5EF4-FFF2-40B4-BE49-F238E27FC236}">
                <a16:creationId xmlns:a16="http://schemas.microsoft.com/office/drawing/2014/main" id="{CF63FD47-2B00-4B4D-AD1C-6B567B58612E}"/>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40085" t="28950" r="12739" b="285"/>
          <a:stretch/>
        </p:blipFill>
        <p:spPr>
          <a:xfrm>
            <a:off x="6080125" y="1925764"/>
            <a:ext cx="2491518" cy="2491518"/>
          </a:xfrm>
          <a:custGeom>
            <a:avLst/>
            <a:gdLst>
              <a:gd name="connsiteX0" fmla="*/ 1336357 w 2672714"/>
              <a:gd name="connsiteY0" fmla="*/ 0 h 2672714"/>
              <a:gd name="connsiteX1" fmla="*/ 2672714 w 2672714"/>
              <a:gd name="connsiteY1" fmla="*/ 1336357 h 2672714"/>
              <a:gd name="connsiteX2" fmla="*/ 1336357 w 2672714"/>
              <a:gd name="connsiteY2" fmla="*/ 2672714 h 2672714"/>
              <a:gd name="connsiteX3" fmla="*/ 0 w 2672714"/>
              <a:gd name="connsiteY3" fmla="*/ 1336357 h 2672714"/>
              <a:gd name="connsiteX4" fmla="*/ 1336357 w 2672714"/>
              <a:gd name="connsiteY4" fmla="*/ 0 h 26727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2714" h="2672714">
                <a:moveTo>
                  <a:pt x="1336357" y="0"/>
                </a:moveTo>
                <a:cubicBezTo>
                  <a:pt x="2074407" y="0"/>
                  <a:pt x="2672714" y="598307"/>
                  <a:pt x="2672714" y="1336357"/>
                </a:cubicBezTo>
                <a:cubicBezTo>
                  <a:pt x="2672714" y="2074407"/>
                  <a:pt x="2074407" y="2672714"/>
                  <a:pt x="1336357" y="2672714"/>
                </a:cubicBezTo>
                <a:cubicBezTo>
                  <a:pt x="598307" y="2672714"/>
                  <a:pt x="0" y="2074407"/>
                  <a:pt x="0" y="1336357"/>
                </a:cubicBezTo>
                <a:cubicBezTo>
                  <a:pt x="0" y="598307"/>
                  <a:pt x="598307" y="0"/>
                  <a:pt x="1336357" y="0"/>
                </a:cubicBezTo>
                <a:close/>
              </a:path>
            </a:pathLst>
          </a:custGeom>
          <a:ln w="34925">
            <a:solidFill>
              <a:srgbClr val="FFFFFF"/>
            </a:solidFill>
          </a:ln>
        </p:spPr>
      </p:pic>
      <p:pic>
        <p:nvPicPr>
          <p:cNvPr id="19" name="Picture 18">
            <a:extLst>
              <a:ext uri="{FF2B5EF4-FFF2-40B4-BE49-F238E27FC236}">
                <a16:creationId xmlns:a16="http://schemas.microsoft.com/office/drawing/2014/main" id="{4A57FE3B-A175-4038-9CEA-9D8355EB113C}"/>
              </a:ext>
            </a:extLst>
          </p:cNvPr>
          <p:cNvPicPr>
            <a:picLocks noChangeAspect="1"/>
          </p:cNvPicPr>
          <p:nvPr userDrawn="1"/>
        </p:nvPicPr>
        <p:blipFill>
          <a:blip r:embed="rId5"/>
          <a:srcRect l="15115" r="15115"/>
          <a:stretch/>
        </p:blipFill>
        <p:spPr>
          <a:xfrm>
            <a:off x="8606694" y="4452207"/>
            <a:ext cx="2491518" cy="2383568"/>
          </a:xfrm>
          <a:custGeom>
            <a:avLst/>
            <a:gdLst>
              <a:gd name="connsiteX0" fmla="*/ 1245759 w 2491518"/>
              <a:gd name="connsiteY0" fmla="*/ 0 h 2383568"/>
              <a:gd name="connsiteX1" fmla="*/ 2491518 w 2491518"/>
              <a:gd name="connsiteY1" fmla="*/ 1245759 h 2383568"/>
              <a:gd name="connsiteX2" fmla="*/ 1839562 w 2491518"/>
              <a:gd name="connsiteY2" fmla="*/ 2341162 h 2383568"/>
              <a:gd name="connsiteX3" fmla="*/ 1751532 w 2491518"/>
              <a:gd name="connsiteY3" fmla="*/ 2383568 h 2383568"/>
              <a:gd name="connsiteX4" fmla="*/ 739986 w 2491518"/>
              <a:gd name="connsiteY4" fmla="*/ 2383568 h 2383568"/>
              <a:gd name="connsiteX5" fmla="*/ 651956 w 2491518"/>
              <a:gd name="connsiteY5" fmla="*/ 2341162 h 2383568"/>
              <a:gd name="connsiteX6" fmla="*/ 0 w 2491518"/>
              <a:gd name="connsiteY6" fmla="*/ 1245759 h 2383568"/>
              <a:gd name="connsiteX7" fmla="*/ 1245759 w 2491518"/>
              <a:gd name="connsiteY7" fmla="*/ 0 h 2383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91518" h="2383568">
                <a:moveTo>
                  <a:pt x="1245759" y="0"/>
                </a:moveTo>
                <a:cubicBezTo>
                  <a:pt x="1933773" y="0"/>
                  <a:pt x="2491518" y="557745"/>
                  <a:pt x="2491518" y="1245759"/>
                </a:cubicBezTo>
                <a:cubicBezTo>
                  <a:pt x="2491518" y="1718769"/>
                  <a:pt x="2227896" y="2130206"/>
                  <a:pt x="1839562" y="2341162"/>
                </a:cubicBezTo>
                <a:lnTo>
                  <a:pt x="1751532" y="2383568"/>
                </a:lnTo>
                <a:lnTo>
                  <a:pt x="739986" y="2383568"/>
                </a:lnTo>
                <a:lnTo>
                  <a:pt x="651956" y="2341162"/>
                </a:lnTo>
                <a:cubicBezTo>
                  <a:pt x="263622" y="2130206"/>
                  <a:pt x="0" y="1718769"/>
                  <a:pt x="0" y="1245759"/>
                </a:cubicBezTo>
                <a:cubicBezTo>
                  <a:pt x="0" y="557745"/>
                  <a:pt x="557745" y="0"/>
                  <a:pt x="1245759" y="0"/>
                </a:cubicBezTo>
                <a:close/>
              </a:path>
            </a:pathLst>
          </a:custGeom>
          <a:ln w="34925">
            <a:solidFill>
              <a:srgbClr val="FFFFFF"/>
            </a:solidFill>
          </a:ln>
        </p:spPr>
      </p:pic>
    </p:spTree>
    <p:extLst>
      <p:ext uri="{BB962C8B-B14F-4D97-AF65-F5344CB8AC3E}">
        <p14:creationId xmlns:p14="http://schemas.microsoft.com/office/powerpoint/2010/main" val="3364348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7548001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39086311"/>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9673492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2938750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9536676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951528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84054143"/>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942216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8487540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3129927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9530213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96794571"/>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9993485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412381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1055286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3217117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572599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63645378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22505256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73388917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39250882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84325569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2636040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43891332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FF9349"/>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1707517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747470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0078D4"/>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932369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963961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82053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6724723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57641628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ode Righ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p:nvPr>
        </p:nvSpPr>
        <p:spPr>
          <a:xfrm>
            <a:off x="588263" y="457200"/>
            <a:ext cx="4925125" cy="553998"/>
          </a:xfrm>
        </p:spPr>
        <p:txBody>
          <a:bodyPr/>
          <a:lstStyle>
            <a:lvl1pPr>
              <a:defRPr>
                <a:solidFill>
                  <a:schemeClr val="tx1"/>
                </a:solidFill>
              </a:defRPr>
            </a:lvl1pPr>
          </a:lstStyle>
          <a:p>
            <a:r>
              <a:rPr lang="en-US"/>
              <a:t>Click to edit Master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924423"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6093451" y="0"/>
            <a:ext cx="6095983"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6096000"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6680200" y="709187"/>
            <a:ext cx="4922486"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18924216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5" pos="3473">
          <p15:clr>
            <a:srgbClr val="5ACBF0"/>
          </p15:clr>
        </p15:guide>
        <p15:guide id="6" pos="4211">
          <p15:clr>
            <a:srgbClr val="5ACBF0"/>
          </p15:clr>
        </p15:guide>
        <p15:guide id="7" pos="3840">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Code Left">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1" y="0"/>
            <a:ext cx="6095983"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p:nvPr>
        </p:nvSpPr>
        <p:spPr>
          <a:xfrm>
            <a:off x="6680183" y="457200"/>
            <a:ext cx="4926600" cy="553998"/>
          </a:xfrm>
        </p:spPr>
        <p:txBody>
          <a:bodyPr/>
          <a:lstStyle>
            <a:lvl1pPr>
              <a:defRPr>
                <a:solidFill>
                  <a:schemeClr val="tx1"/>
                </a:solidFill>
              </a:defRPr>
            </a:lvl1pPr>
          </a:lstStyle>
          <a:p>
            <a:r>
              <a:rPr lang="en-US"/>
              <a:t>Click to edit Master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200" y="706011"/>
            <a:ext cx="4922486"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6684965" y="1336675"/>
            <a:ext cx="4924423"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12084405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3">
          <p15:clr>
            <a:srgbClr val="5ACBF0"/>
          </p15:clr>
        </p15:guide>
        <p15:guide id="4" orient="horz" pos="839">
          <p15:clr>
            <a:srgbClr val="5ACBF0"/>
          </p15:clr>
        </p15:guide>
        <p15:guide id="5" pos="3473">
          <p15:clr>
            <a:srgbClr val="5ACBF0"/>
          </p15:clr>
        </p15:guide>
        <p15:guide id="6" pos="4211">
          <p15:clr>
            <a:srgbClr val="5ACBF0"/>
          </p15:clr>
        </p15:guide>
        <p15:guide id="7"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80111623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97E0FC-9F54-411E-B47F-EE03F6432DE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AE32F6B-310E-4E2B-A769-AF20D4E5D0E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833481F-0913-4324-98F1-A0E3E463F720}"/>
              </a:ext>
            </a:extLst>
          </p:cNvPr>
          <p:cNvSpPr>
            <a:spLocks noGrp="1"/>
          </p:cNvSpPr>
          <p:nvPr>
            <p:ph type="dt" sz="half" idx="10"/>
          </p:nvPr>
        </p:nvSpPr>
        <p:spPr/>
        <p:txBody>
          <a:bodyPr/>
          <a:lstStyle/>
          <a:p>
            <a:fld id="{EAF21C86-AF0B-4288-BA13-25A15A6AE995}" type="datetimeFigureOut">
              <a:rPr lang="en-US" smtClean="0"/>
              <a:t>6/28/2022</a:t>
            </a:fld>
            <a:endParaRPr lang="en-US"/>
          </a:p>
        </p:txBody>
      </p:sp>
      <p:sp>
        <p:nvSpPr>
          <p:cNvPr id="5" name="Footer Placeholder 4">
            <a:extLst>
              <a:ext uri="{FF2B5EF4-FFF2-40B4-BE49-F238E27FC236}">
                <a16:creationId xmlns:a16="http://schemas.microsoft.com/office/drawing/2014/main" id="{11E23166-CCC8-4FA6-B95C-261CB212EEB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200E26D-A595-45A1-89BF-2C34147575D1}"/>
              </a:ext>
            </a:extLst>
          </p:cNvPr>
          <p:cNvSpPr>
            <a:spLocks noGrp="1"/>
          </p:cNvSpPr>
          <p:nvPr>
            <p:ph type="sldNum" sz="quarter" idx="12"/>
          </p:nvPr>
        </p:nvSpPr>
        <p:spPr/>
        <p:txBody>
          <a:bodyPr/>
          <a:lstStyle/>
          <a:p>
            <a:fld id="{3107BA24-C0E2-4420-820F-D0661A7BAFBD}" type="slidenum">
              <a:rPr lang="en-US" smtClean="0"/>
              <a:t>‹#›</a:t>
            </a:fld>
            <a:endParaRPr lang="en-US"/>
          </a:p>
        </p:txBody>
      </p:sp>
    </p:spTree>
    <p:extLst>
      <p:ext uri="{BB962C8B-B14F-4D97-AF65-F5344CB8AC3E}">
        <p14:creationId xmlns:p14="http://schemas.microsoft.com/office/powerpoint/2010/main" val="253517174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F2F2F2"/>
        </a:solidFill>
        <a:effectLst/>
      </p:bgPr>
    </p:bg>
    <p:spTree>
      <p:nvGrpSpPr>
        <p:cNvPr id="1" name=""/>
        <p:cNvGrpSpPr/>
        <p:nvPr/>
      </p:nvGrpSpPr>
      <p:grpSpPr>
        <a:xfrm>
          <a:off x="0" y="0"/>
          <a:ext cx="0" cy="0"/>
          <a:chOff x="0" y="0"/>
          <a:chExt cx="0" cy="0"/>
        </a:xfrm>
      </p:grpSpPr>
      <p:pic>
        <p:nvPicPr>
          <p:cNvPr id="13" name="Graphic 12" descr="Microsoft 365 logo">
            <a:extLst>
              <a:ext uri="{FF2B5EF4-FFF2-40B4-BE49-F238E27FC236}">
                <a16:creationId xmlns:a16="http://schemas.microsoft.com/office/drawing/2014/main" id="{823A1445-5C70-4C56-82D2-61DE593E4D1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84200" y="585788"/>
            <a:ext cx="1812544" cy="292608"/>
          </a:xfrm>
          <a:prstGeom prst="rect">
            <a:avLst/>
          </a:prstGeom>
        </p:spPr>
      </p:pic>
      <p:sp>
        <p:nvSpPr>
          <p:cNvPr id="9" name="Title 1"/>
          <p:cNvSpPr>
            <a:spLocks noGrp="1"/>
          </p:cNvSpPr>
          <p:nvPr>
            <p:ph type="title" hasCustomPrompt="1"/>
          </p:nvPr>
        </p:nvSpPr>
        <p:spPr>
          <a:xfrm>
            <a:off x="584201" y="2425780"/>
            <a:ext cx="4169664"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1" y="3962400"/>
            <a:ext cx="416966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8" name="Graphic 7" descr="Viva graphic">
            <a:extLst>
              <a:ext uri="{FF2B5EF4-FFF2-40B4-BE49-F238E27FC236}">
                <a16:creationId xmlns:a16="http://schemas.microsoft.com/office/drawing/2014/main" id="{BD4A8110-FAC3-40D2-9C10-97DC9A313845}"/>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t="41877" r="60238" b="14390"/>
          <a:stretch/>
        </p:blipFill>
        <p:spPr bwMode="ltGray">
          <a:xfrm>
            <a:off x="4643972" y="-1"/>
            <a:ext cx="7548028" cy="6858001"/>
          </a:xfrm>
          <a:prstGeom prst="rect">
            <a:avLst/>
          </a:prstGeom>
        </p:spPr>
      </p:pic>
      <p:pic>
        <p:nvPicPr>
          <p:cNvPr id="12" name="Picture 11" descr="Camera view of man smiling while sitting in an outdoor area">
            <a:extLst>
              <a:ext uri="{FF2B5EF4-FFF2-40B4-BE49-F238E27FC236}">
                <a16:creationId xmlns:a16="http://schemas.microsoft.com/office/drawing/2014/main" id="{FED6A5B6-F766-4375-B8AB-338CFB2D0CC9}"/>
              </a:ext>
            </a:extLst>
          </p:cNvPr>
          <p:cNvPicPr>
            <a:picLocks noChangeAspect="1"/>
          </p:cNvPicPr>
          <p:nvPr userDrawn="1"/>
        </p:nvPicPr>
        <p:blipFill rotWithShape="1">
          <a:blip r:embed="rId6" cstate="hqprint">
            <a:extLst>
              <a:ext uri="{28A0092B-C50C-407E-A947-70E740481C1C}">
                <a14:useLocalDpi xmlns:a14="http://schemas.microsoft.com/office/drawing/2010/main"/>
              </a:ext>
            </a:extLst>
          </a:blip>
          <a:srcRect/>
          <a:stretch/>
        </p:blipFill>
        <p:spPr>
          <a:xfrm>
            <a:off x="5915660" y="585788"/>
            <a:ext cx="5692140" cy="5696712"/>
          </a:xfrm>
          <a:prstGeom prst="rect">
            <a:avLst/>
          </a:prstGeom>
        </p:spPr>
      </p:pic>
    </p:spTree>
    <p:extLst>
      <p:ext uri="{BB962C8B-B14F-4D97-AF65-F5344CB8AC3E}">
        <p14:creationId xmlns:p14="http://schemas.microsoft.com/office/powerpoint/2010/main" val="42476230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2999">
          <p15:clr>
            <a:srgbClr val="5ACBF0"/>
          </p15:clr>
        </p15:guide>
        <p15:guide id="4" orient="horz" pos="2160">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7245609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6254640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7167740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7407937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7701218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2850448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51175839"/>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852673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18642359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2167778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828762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40985736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00442260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353868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4071061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3121745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61428133"/>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92164808"/>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60462490"/>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5324117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7400811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4142606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1574910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2541070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5970687"/>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4568241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5159827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6029049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2506713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4595634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964771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5028826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8341201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9" name="Rectangle: Rounded Corners 8">
            <a:extLst>
              <a:ext uri="{FF2B5EF4-FFF2-40B4-BE49-F238E27FC236}">
                <a16:creationId xmlns:a16="http://schemas.microsoft.com/office/drawing/2014/main" id="{DD16012E-7552-4D66-BEC4-77F25DAACD42}"/>
              </a:ext>
            </a:extLst>
          </p:cNvPr>
          <p:cNvSpPr/>
          <p:nvPr userDrawn="1"/>
        </p:nvSpPr>
        <p:spPr bwMode="auto">
          <a:xfrm>
            <a:off x="585216" y="1854200"/>
            <a:ext cx="11024172" cy="165100"/>
          </a:xfrm>
          <a:prstGeom prst="roundRect">
            <a:avLst>
              <a:gd name="adj" fmla="val 50000"/>
            </a:avLst>
          </a:prstGeom>
          <a:solidFill>
            <a:srgbClr val="A8F02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0" name="Rectangle: Rounded Corners 9">
            <a:extLst>
              <a:ext uri="{FF2B5EF4-FFF2-40B4-BE49-F238E27FC236}">
                <a16:creationId xmlns:a16="http://schemas.microsoft.com/office/drawing/2014/main" id="{7AA65FD8-BFAD-4F0B-8CCD-65FDE1E1B8B3}"/>
              </a:ext>
            </a:extLst>
          </p:cNvPr>
          <p:cNvSpPr/>
          <p:nvPr userDrawn="1"/>
        </p:nvSpPr>
        <p:spPr bwMode="auto">
          <a:xfrm>
            <a:off x="585217" y="1854200"/>
            <a:ext cx="3186684" cy="165100"/>
          </a:xfrm>
          <a:prstGeom prst="roundRect">
            <a:avLst>
              <a:gd name="adj" fmla="val 50000"/>
            </a:avLst>
          </a:prstGeom>
          <a:solidFill>
            <a:srgbClr val="18611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76317233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9" name="Rectangle: Rounded Corners 8">
            <a:extLst>
              <a:ext uri="{FF2B5EF4-FFF2-40B4-BE49-F238E27FC236}">
                <a16:creationId xmlns:a16="http://schemas.microsoft.com/office/drawing/2014/main" id="{DD16012E-7552-4D66-BEC4-77F25DAACD42}"/>
              </a:ext>
            </a:extLst>
          </p:cNvPr>
          <p:cNvSpPr/>
          <p:nvPr userDrawn="1"/>
        </p:nvSpPr>
        <p:spPr bwMode="auto">
          <a:xfrm>
            <a:off x="585216" y="1854200"/>
            <a:ext cx="11024172" cy="165100"/>
          </a:xfrm>
          <a:prstGeom prst="roundRect">
            <a:avLst>
              <a:gd name="adj" fmla="val 50000"/>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0" name="Rectangle: Rounded Corners 9">
            <a:extLst>
              <a:ext uri="{FF2B5EF4-FFF2-40B4-BE49-F238E27FC236}">
                <a16:creationId xmlns:a16="http://schemas.microsoft.com/office/drawing/2014/main" id="{7AA65FD8-BFAD-4F0B-8CCD-65FDE1E1B8B3}"/>
              </a:ext>
            </a:extLst>
          </p:cNvPr>
          <p:cNvSpPr/>
          <p:nvPr userDrawn="1"/>
        </p:nvSpPr>
        <p:spPr bwMode="auto">
          <a:xfrm>
            <a:off x="585217" y="1854200"/>
            <a:ext cx="3186684" cy="165100"/>
          </a:xfrm>
          <a:prstGeom prst="roundRect">
            <a:avLst>
              <a:gd name="adj" fmla="val 50000"/>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54001101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7580275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Segoe UI" panose="020B0502040204020203" pitchFamily="34" charset="0"/>
                <a:cs typeface="Segoe UI" panose="020B0502040204020203" pitchFamily="34"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83669545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Segoe UI" panose="020B0502040204020203" pitchFamily="34" charset="0"/>
                <a:cs typeface="Segoe UI" panose="020B0502040204020203" pitchFamily="34"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36190966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Segoe UI" panose="020B0502040204020203" pitchFamily="34" charset="0"/>
                <a:cs typeface="Segoe UI" panose="020B0502040204020203" pitchFamily="34"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20874835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Segoe UI" panose="020B0502040204020203" pitchFamily="34" charset="0"/>
                <a:cs typeface="Segoe UI" panose="020B0502040204020203" pitchFamily="34"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50330091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Segoe UI" panose="020B0502040204020203" pitchFamily="34" charset="0"/>
                <a:cs typeface="Segoe UI" panose="020B0502040204020203" pitchFamily="34"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49230415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3914497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Segoe UI" panose="020B0502040204020203" pitchFamily="34" charset="0"/>
                <a:cs typeface="Segoe UI" panose="020B0502040204020203" pitchFamily="34"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60929135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Demo slide ">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C36A9F4-0298-4717-A552-557C2F5B7F5D}"/>
              </a:ext>
              <a:ext uri="{C183D7F6-B498-43B3-948B-1728B52AA6E4}">
                <adec:decorative xmlns:adec="http://schemas.microsoft.com/office/drawing/2017/decorative" val="1"/>
              </a:ext>
            </a:extLst>
          </p:cNvPr>
          <p:cNvSpPr/>
          <p:nvPr userDrawn="1"/>
        </p:nvSpPr>
        <p:spPr bwMode="white">
          <a:xfrm>
            <a:off x="585216" y="585789"/>
            <a:ext cx="11024171" cy="568325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pic>
        <p:nvPicPr>
          <p:cNvPr id="8" name="Graphic 7" descr="Viva graphic">
            <a:extLst>
              <a:ext uri="{FF2B5EF4-FFF2-40B4-BE49-F238E27FC236}">
                <a16:creationId xmlns:a16="http://schemas.microsoft.com/office/drawing/2014/main" id="{625EA932-2B40-4F6E-B94E-C012D5639F1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19278" r="63474" b="62189"/>
          <a:stretch/>
        </p:blipFill>
        <p:spPr bwMode="ltGray">
          <a:xfrm>
            <a:off x="6884842" y="0"/>
            <a:ext cx="5307158" cy="2692836"/>
          </a:xfrm>
          <a:prstGeom prst="rect">
            <a:avLst/>
          </a:prstGeom>
        </p:spPr>
      </p:pic>
      <p:pic>
        <p:nvPicPr>
          <p:cNvPr id="9" name="Graphic 8" descr="Viva graphic">
            <a:extLst>
              <a:ext uri="{FF2B5EF4-FFF2-40B4-BE49-F238E27FC236}">
                <a16:creationId xmlns:a16="http://schemas.microsoft.com/office/drawing/2014/main" id="{57C28224-C9AA-4A0C-AE02-B431B7A2E247}"/>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36991" r="63474" b="24463"/>
          <a:stretch/>
        </p:blipFill>
        <p:spPr bwMode="ltGray">
          <a:xfrm>
            <a:off x="6884842" y="1257299"/>
            <a:ext cx="5307158" cy="5600701"/>
          </a:xfrm>
          <a:prstGeom prst="rect">
            <a:avLst/>
          </a:prstGeom>
        </p:spPr>
      </p:pic>
      <p:sp>
        <p:nvSpPr>
          <p:cNvPr id="2" name="Title 1"/>
          <p:cNvSpPr>
            <a:spLocks noGrp="1"/>
          </p:cNvSpPr>
          <p:nvPr>
            <p:ph type="title" hasCustomPrompt="1"/>
          </p:nvPr>
        </p:nvSpPr>
        <p:spPr>
          <a:xfrm>
            <a:off x="876300" y="3037887"/>
            <a:ext cx="4169664"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876300" y="3977319"/>
            <a:ext cx="4169664"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4304102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177">
          <p15:clr>
            <a:srgbClr val="5ACBF0"/>
          </p15:clr>
        </p15:guide>
        <p15:guide id="3" orient="horz" pos="1910">
          <p15:clr>
            <a:srgbClr val="5ACBF0"/>
          </p15:clr>
        </p15:guide>
        <p15:guide id="4" orient="horz" pos="2505">
          <p15:clr>
            <a:srgbClr val="5ACBF0"/>
          </p15:clr>
        </p15:guide>
        <p15:guide id="5" pos="546">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Section Title ">
    <p:bg>
      <p:bgPr>
        <a:solidFill>
          <a:schemeClr val="bg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2CC5F08-060D-4EE9-BA8C-C993FC525161}"/>
              </a:ext>
              <a:ext uri="{C183D7F6-B498-43B3-948B-1728B52AA6E4}">
                <adec:decorative xmlns:adec="http://schemas.microsoft.com/office/drawing/2017/decorative" val="1"/>
              </a:ext>
            </a:extLst>
          </p:cNvPr>
          <p:cNvSpPr/>
          <p:nvPr userDrawn="1"/>
        </p:nvSpPr>
        <p:spPr bwMode="white">
          <a:xfrm>
            <a:off x="585216" y="585789"/>
            <a:ext cx="11024171" cy="568325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pic>
        <p:nvPicPr>
          <p:cNvPr id="6" name="Graphic 5" descr="Viva graphic">
            <a:extLst>
              <a:ext uri="{FF2B5EF4-FFF2-40B4-BE49-F238E27FC236}">
                <a16:creationId xmlns:a16="http://schemas.microsoft.com/office/drawing/2014/main" id="{AED4D871-9676-4FC8-AED0-B66AA287FF75}"/>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19278" r="63474" b="62189"/>
          <a:stretch/>
        </p:blipFill>
        <p:spPr bwMode="ltGray">
          <a:xfrm>
            <a:off x="6884842" y="0"/>
            <a:ext cx="5307158" cy="2692836"/>
          </a:xfrm>
          <a:prstGeom prst="rect">
            <a:avLst/>
          </a:prstGeom>
        </p:spPr>
      </p:pic>
      <p:pic>
        <p:nvPicPr>
          <p:cNvPr id="7" name="Graphic 6" descr="Viva graphic">
            <a:extLst>
              <a:ext uri="{FF2B5EF4-FFF2-40B4-BE49-F238E27FC236}">
                <a16:creationId xmlns:a16="http://schemas.microsoft.com/office/drawing/2014/main" id="{EDBD2BA4-1A18-4025-9C69-9FD24995FF0E}"/>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36991" r="63474" b="24463"/>
          <a:stretch/>
        </p:blipFill>
        <p:spPr bwMode="ltGray">
          <a:xfrm>
            <a:off x="6884842" y="1257299"/>
            <a:ext cx="5307158" cy="5600701"/>
          </a:xfrm>
          <a:prstGeom prst="rect">
            <a:avLst/>
          </a:prstGeom>
        </p:spPr>
      </p:pic>
      <p:sp>
        <p:nvSpPr>
          <p:cNvPr id="2" name="Title 1"/>
          <p:cNvSpPr>
            <a:spLocks noGrp="1"/>
          </p:cNvSpPr>
          <p:nvPr>
            <p:ph type="title" hasCustomPrompt="1"/>
          </p:nvPr>
        </p:nvSpPr>
        <p:spPr>
          <a:xfrm>
            <a:off x="876300" y="3035808"/>
            <a:ext cx="4169664"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4372475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177">
          <p15:clr>
            <a:srgbClr val="5ACBF0"/>
          </p15:clr>
        </p15:guide>
        <p15:guide id="3" orient="horz" pos="1910">
          <p15:clr>
            <a:srgbClr val="5ACBF0"/>
          </p15:clr>
        </p15:guide>
        <p15:guide id="4" pos="546">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151959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Black Notes slide Layout">
    <p:bg>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black"/>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black">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35308657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Closing logo slide ">
    <p:bg>
      <p:bgPr>
        <a:solidFill>
          <a:schemeClr val="accent5"/>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4" name="Graphic 3" descr="Microsoft 365 logo">
            <a:extLst>
              <a:ext uri="{FF2B5EF4-FFF2-40B4-BE49-F238E27FC236}">
                <a16:creationId xmlns:a16="http://schemas.microsoft.com/office/drawing/2014/main" id="{8AD49639-0ECC-4B3F-8375-A2CCCAB26F18}"/>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r="22663"/>
          <a:stretch/>
        </p:blipFill>
        <p:spPr bwMode="black">
          <a:xfrm>
            <a:off x="584200" y="585788"/>
            <a:ext cx="1401763" cy="292608"/>
          </a:xfrm>
          <a:prstGeom prst="rect">
            <a:avLst/>
          </a:prstGeom>
        </p:spPr>
      </p:pic>
    </p:spTree>
    <p:extLst>
      <p:ext uri="{BB962C8B-B14F-4D97-AF65-F5344CB8AC3E}">
        <p14:creationId xmlns:p14="http://schemas.microsoft.com/office/powerpoint/2010/main" val="32415794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97951504"/>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57782090"/>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pic>
        <p:nvPicPr>
          <p:cNvPr id="14" name="Graphic 13" descr="Microsoft 365 logo">
            <a:extLst>
              <a:ext uri="{FF2B5EF4-FFF2-40B4-BE49-F238E27FC236}">
                <a16:creationId xmlns:a16="http://schemas.microsoft.com/office/drawing/2014/main" id="{BDAD4DAA-0B3C-4CC7-9D2E-4C3D32AFCD9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84200" y="585788"/>
            <a:ext cx="1812544" cy="292608"/>
          </a:xfrm>
          <a:prstGeom prst="rect">
            <a:avLst/>
          </a:prstGeom>
        </p:spPr>
      </p:pic>
      <p:sp>
        <p:nvSpPr>
          <p:cNvPr id="9" name="Title 1"/>
          <p:cNvSpPr>
            <a:spLocks noGrp="1"/>
          </p:cNvSpPr>
          <p:nvPr>
            <p:ph type="title" hasCustomPrompt="1"/>
          </p:nvPr>
        </p:nvSpPr>
        <p:spPr>
          <a:xfrm>
            <a:off x="584201" y="2425780"/>
            <a:ext cx="4169664"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1" y="3962400"/>
            <a:ext cx="416966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sp>
        <p:nvSpPr>
          <p:cNvPr id="10" name="TextBox 9">
            <a:extLst>
              <a:ext uri="{FF2B5EF4-FFF2-40B4-BE49-F238E27FC236}">
                <a16:creationId xmlns:a16="http://schemas.microsoft.com/office/drawing/2014/main" id="{CEF33A90-9AAF-487F-9A86-1D28ED52D520}"/>
              </a:ext>
            </a:extLst>
          </p:cNvPr>
          <p:cNvSpPr txBox="1"/>
          <p:nvPr userDrawn="1"/>
        </p:nvSpPr>
        <p:spPr>
          <a:xfrm>
            <a:off x="584200" y="2075600"/>
            <a:ext cx="2278743" cy="307777"/>
          </a:xfrm>
          <a:prstGeom prst="rect">
            <a:avLst/>
          </a:prstGeom>
          <a:noFill/>
        </p:spPr>
        <p:txBody>
          <a:bodyPr wrap="square" lIns="0" tIns="0" rIns="0" bIns="0" rtlCol="0">
            <a:spAutoFit/>
          </a:bodyPr>
          <a:lstStyle/>
          <a:p>
            <a:pPr algn="l"/>
            <a:r>
              <a:rPr lang="en-US" sz="2000">
                <a:solidFill>
                  <a:srgbClr val="107C10"/>
                </a:solidFill>
                <a:latin typeface="+mj-lt"/>
              </a:rPr>
              <a:t>Microsoft Viva</a:t>
            </a:r>
          </a:p>
        </p:txBody>
      </p:sp>
      <p:pic>
        <p:nvPicPr>
          <p:cNvPr id="11" name="Graphic 10" descr="Viva graphic">
            <a:extLst>
              <a:ext uri="{FF2B5EF4-FFF2-40B4-BE49-F238E27FC236}">
                <a16:creationId xmlns:a16="http://schemas.microsoft.com/office/drawing/2014/main" id="{DBC3551F-D1E2-4FE4-A029-5F364DC4E489}"/>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bwMode="ltGray">
          <a:xfrm>
            <a:off x="5093361" y="891696"/>
            <a:ext cx="6397912" cy="5285232"/>
          </a:xfrm>
          <a:prstGeom prst="rect">
            <a:avLst/>
          </a:prstGeom>
        </p:spPr>
      </p:pic>
      <p:pic>
        <p:nvPicPr>
          <p:cNvPr id="12" name="Picture 11" descr="Woman">
            <a:extLst>
              <a:ext uri="{FF2B5EF4-FFF2-40B4-BE49-F238E27FC236}">
                <a16:creationId xmlns:a16="http://schemas.microsoft.com/office/drawing/2014/main" id="{D2DF3FEF-771E-4B7F-A780-7010259AF8BD}"/>
              </a:ext>
            </a:extLst>
          </p:cNvPr>
          <p:cNvPicPr>
            <a:picLocks noChangeAspect="1"/>
          </p:cNvPicPr>
          <p:nvPr userDrawn="1"/>
        </p:nvPicPr>
        <p:blipFill>
          <a:blip r:embed="rId6"/>
          <a:stretch>
            <a:fillRect/>
          </a:stretch>
        </p:blipFill>
        <p:spPr bwMode="ltGray">
          <a:xfrm>
            <a:off x="6854783" y="4224879"/>
            <a:ext cx="1581912" cy="1581912"/>
          </a:xfrm>
          <a:custGeom>
            <a:avLst/>
            <a:gdLst>
              <a:gd name="connsiteX0" fmla="*/ 1338606 w 2677212"/>
              <a:gd name="connsiteY0" fmla="*/ 0 h 2677212"/>
              <a:gd name="connsiteX1" fmla="*/ 2677212 w 2677212"/>
              <a:gd name="connsiteY1" fmla="*/ 1338606 h 2677212"/>
              <a:gd name="connsiteX2" fmla="*/ 1338606 w 2677212"/>
              <a:gd name="connsiteY2" fmla="*/ 2677212 h 2677212"/>
              <a:gd name="connsiteX3" fmla="*/ 0 w 2677212"/>
              <a:gd name="connsiteY3" fmla="*/ 1338606 h 2677212"/>
              <a:gd name="connsiteX4" fmla="*/ 1338606 w 2677212"/>
              <a:gd name="connsiteY4" fmla="*/ 0 h 267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7212" h="2677212">
                <a:moveTo>
                  <a:pt x="1338606" y="0"/>
                </a:moveTo>
                <a:cubicBezTo>
                  <a:pt x="2077898" y="0"/>
                  <a:pt x="2677212" y="599314"/>
                  <a:pt x="2677212" y="1338606"/>
                </a:cubicBezTo>
                <a:cubicBezTo>
                  <a:pt x="2677212" y="2077898"/>
                  <a:pt x="2077898" y="2677212"/>
                  <a:pt x="1338606" y="2677212"/>
                </a:cubicBezTo>
                <a:cubicBezTo>
                  <a:pt x="599314" y="2677212"/>
                  <a:pt x="0" y="2077898"/>
                  <a:pt x="0" y="1338606"/>
                </a:cubicBezTo>
                <a:cubicBezTo>
                  <a:pt x="0" y="599314"/>
                  <a:pt x="599314" y="0"/>
                  <a:pt x="1338606" y="0"/>
                </a:cubicBezTo>
                <a:close/>
              </a:path>
            </a:pathLst>
          </a:custGeom>
        </p:spPr>
      </p:pic>
      <p:pic>
        <p:nvPicPr>
          <p:cNvPr id="13" name="Picture 12" descr="Man">
            <a:extLst>
              <a:ext uri="{FF2B5EF4-FFF2-40B4-BE49-F238E27FC236}">
                <a16:creationId xmlns:a16="http://schemas.microsoft.com/office/drawing/2014/main" id="{940E6FD8-FB99-4576-B750-9F9DFC2D7CC4}"/>
              </a:ext>
            </a:extLst>
          </p:cNvPr>
          <p:cNvPicPr>
            <a:picLocks noChangeAspect="1"/>
          </p:cNvPicPr>
          <p:nvPr userDrawn="1"/>
        </p:nvPicPr>
        <p:blipFill>
          <a:blip r:embed="rId7"/>
          <a:srcRect l="5509" t="6369" r="6118" b="4568"/>
          <a:stretch>
            <a:fillRect/>
          </a:stretch>
        </p:blipFill>
        <p:spPr bwMode="ltGray">
          <a:xfrm>
            <a:off x="9540013" y="1077208"/>
            <a:ext cx="1581912" cy="1581912"/>
          </a:xfrm>
          <a:custGeom>
            <a:avLst/>
            <a:gdLst>
              <a:gd name="connsiteX0" fmla="*/ 868685 w 1737370"/>
              <a:gd name="connsiteY0" fmla="*/ 0 h 1737370"/>
              <a:gd name="connsiteX1" fmla="*/ 1737370 w 1737370"/>
              <a:gd name="connsiteY1" fmla="*/ 868685 h 1737370"/>
              <a:gd name="connsiteX2" fmla="*/ 868685 w 1737370"/>
              <a:gd name="connsiteY2" fmla="*/ 1737370 h 1737370"/>
              <a:gd name="connsiteX3" fmla="*/ 0 w 1737370"/>
              <a:gd name="connsiteY3" fmla="*/ 868685 h 1737370"/>
              <a:gd name="connsiteX4" fmla="*/ 868685 w 1737370"/>
              <a:gd name="connsiteY4" fmla="*/ 0 h 1737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7370" h="1737370">
                <a:moveTo>
                  <a:pt x="868685" y="0"/>
                </a:moveTo>
                <a:cubicBezTo>
                  <a:pt x="1348446" y="0"/>
                  <a:pt x="1737370" y="388924"/>
                  <a:pt x="1737370" y="868685"/>
                </a:cubicBezTo>
                <a:cubicBezTo>
                  <a:pt x="1737370" y="1348446"/>
                  <a:pt x="1348446" y="1737370"/>
                  <a:pt x="868685" y="1737370"/>
                </a:cubicBezTo>
                <a:cubicBezTo>
                  <a:pt x="388924" y="1737370"/>
                  <a:pt x="0" y="1348446"/>
                  <a:pt x="0" y="868685"/>
                </a:cubicBezTo>
                <a:cubicBezTo>
                  <a:pt x="0" y="388924"/>
                  <a:pt x="388924" y="0"/>
                  <a:pt x="868685" y="0"/>
                </a:cubicBezTo>
                <a:close/>
              </a:path>
            </a:pathLst>
          </a:custGeom>
        </p:spPr>
      </p:pic>
    </p:spTree>
    <p:extLst>
      <p:ext uri="{BB962C8B-B14F-4D97-AF65-F5344CB8AC3E}">
        <p14:creationId xmlns:p14="http://schemas.microsoft.com/office/powerpoint/2010/main" val="2151764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496">
          <p15:clr>
            <a:srgbClr val="5ACBF0"/>
          </p15:clr>
        </p15:guide>
        <p15:guide id="3" pos="2999">
          <p15:clr>
            <a:srgbClr val="5ACBF0"/>
          </p15:clr>
        </p15:guide>
        <p15:guide id="4" orient="horz" pos="216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06395195"/>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71845382"/>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65720429"/>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7177331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8494324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45095887"/>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4475527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9396235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7178000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7310572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4289897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4575172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0006162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9017155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9" name="Rectangle: Rounded Corners 8">
            <a:extLst>
              <a:ext uri="{FF2B5EF4-FFF2-40B4-BE49-F238E27FC236}">
                <a16:creationId xmlns:a16="http://schemas.microsoft.com/office/drawing/2014/main" id="{9C190A71-97E0-4E57-82FA-C3EF0F96C05B}"/>
              </a:ext>
            </a:extLst>
          </p:cNvPr>
          <p:cNvSpPr/>
          <p:nvPr userDrawn="1"/>
        </p:nvSpPr>
        <p:spPr bwMode="auto">
          <a:xfrm>
            <a:off x="585216" y="1854200"/>
            <a:ext cx="11024172" cy="165100"/>
          </a:xfrm>
          <a:prstGeom prst="roundRect">
            <a:avLst>
              <a:gd name="adj" fmla="val 50000"/>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0" name="Rectangle: Rounded Corners 9">
            <a:extLst>
              <a:ext uri="{FF2B5EF4-FFF2-40B4-BE49-F238E27FC236}">
                <a16:creationId xmlns:a16="http://schemas.microsoft.com/office/drawing/2014/main" id="{61117474-280D-4E50-BA20-903C9DCDA921}"/>
              </a:ext>
            </a:extLst>
          </p:cNvPr>
          <p:cNvSpPr/>
          <p:nvPr userDrawn="1"/>
        </p:nvSpPr>
        <p:spPr bwMode="auto">
          <a:xfrm>
            <a:off x="585217" y="1854200"/>
            <a:ext cx="3186684" cy="165100"/>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95213399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9" name="Rectangle: Rounded Corners 8">
            <a:extLst>
              <a:ext uri="{FF2B5EF4-FFF2-40B4-BE49-F238E27FC236}">
                <a16:creationId xmlns:a16="http://schemas.microsoft.com/office/drawing/2014/main" id="{9C190A71-97E0-4E57-82FA-C3EF0F96C05B}"/>
              </a:ext>
            </a:extLst>
          </p:cNvPr>
          <p:cNvSpPr/>
          <p:nvPr userDrawn="1"/>
        </p:nvSpPr>
        <p:spPr bwMode="auto">
          <a:xfrm>
            <a:off x="585216" y="1854200"/>
            <a:ext cx="11024172" cy="165100"/>
          </a:xfrm>
          <a:prstGeom prst="roundRect">
            <a:avLst>
              <a:gd name="adj" fmla="val 50000"/>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0" name="Rectangle: Rounded Corners 9">
            <a:extLst>
              <a:ext uri="{FF2B5EF4-FFF2-40B4-BE49-F238E27FC236}">
                <a16:creationId xmlns:a16="http://schemas.microsoft.com/office/drawing/2014/main" id="{61117474-280D-4E50-BA20-903C9DCDA921}"/>
              </a:ext>
            </a:extLst>
          </p:cNvPr>
          <p:cNvSpPr/>
          <p:nvPr userDrawn="1"/>
        </p:nvSpPr>
        <p:spPr bwMode="auto">
          <a:xfrm>
            <a:off x="585217" y="1854200"/>
            <a:ext cx="3186684" cy="165100"/>
          </a:xfrm>
          <a:prstGeom prst="roundRect">
            <a:avLst>
              <a:gd name="adj" fmla="val 50000"/>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79848439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6121438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33238113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39935560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34543772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89002981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770188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83021111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70750174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emo slide ">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3037887"/>
            <a:ext cx="446176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4200" y="3977319"/>
            <a:ext cx="446176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pic>
        <p:nvPicPr>
          <p:cNvPr id="6" name="Graphic 5" descr="Viva graphic">
            <a:extLst>
              <a:ext uri="{FF2B5EF4-FFF2-40B4-BE49-F238E27FC236}">
                <a16:creationId xmlns:a16="http://schemas.microsoft.com/office/drawing/2014/main" id="{8B7FDE98-2DE3-49AE-8300-3468B032712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ltGray">
          <a:xfrm>
            <a:off x="5093361" y="891696"/>
            <a:ext cx="6397912" cy="5285232"/>
          </a:xfrm>
          <a:prstGeom prst="rect">
            <a:avLst/>
          </a:prstGeom>
        </p:spPr>
      </p:pic>
    </p:spTree>
    <p:extLst>
      <p:ext uri="{BB962C8B-B14F-4D97-AF65-F5344CB8AC3E}">
        <p14:creationId xmlns:p14="http://schemas.microsoft.com/office/powerpoint/2010/main" val="21679937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177">
          <p15:clr>
            <a:srgbClr val="5ACBF0"/>
          </p15:clr>
        </p15:guide>
        <p15:guide id="3" orient="horz" pos="1910">
          <p15:clr>
            <a:srgbClr val="5ACBF0"/>
          </p15:clr>
        </p15:guide>
        <p15:guide id="4" orient="horz" pos="2505">
          <p15:clr>
            <a:srgbClr val="5ACBF0"/>
          </p15:clr>
        </p15:guide>
        <p15:guide id="5" pos="546">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Title ">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3035808"/>
            <a:ext cx="446176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Graphic 3" descr="Viva graphic">
            <a:extLst>
              <a:ext uri="{FF2B5EF4-FFF2-40B4-BE49-F238E27FC236}">
                <a16:creationId xmlns:a16="http://schemas.microsoft.com/office/drawing/2014/main" id="{B7B0164D-6902-4083-AE9B-C4AF7922706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ltGray">
          <a:xfrm>
            <a:off x="5093361" y="891696"/>
            <a:ext cx="6397912" cy="5285232"/>
          </a:xfrm>
          <a:prstGeom prst="rect">
            <a:avLst/>
          </a:prstGeom>
        </p:spPr>
      </p:pic>
    </p:spTree>
    <p:extLst>
      <p:ext uri="{BB962C8B-B14F-4D97-AF65-F5344CB8AC3E}">
        <p14:creationId xmlns:p14="http://schemas.microsoft.com/office/powerpoint/2010/main" val="28026271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177">
          <p15:clr>
            <a:srgbClr val="5ACBF0"/>
          </p15:clr>
        </p15:guide>
        <p15:guide id="3" orient="horz" pos="1910">
          <p15:clr>
            <a:srgbClr val="5ACBF0"/>
          </p15:clr>
        </p15:guide>
        <p15:guide id="4" pos="546">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1216672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3">
    <p:bg>
      <p:bgPr>
        <a:solidFill>
          <a:srgbClr val="2F2F2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056696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losing logo slide ">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Graphic 4" descr="Microsoft 365 logo">
            <a:extLst>
              <a:ext uri="{FF2B5EF4-FFF2-40B4-BE49-F238E27FC236}">
                <a16:creationId xmlns:a16="http://schemas.microsoft.com/office/drawing/2014/main" id="{73B3249A-D944-49E1-808A-1F7B4A2343C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84200" y="585788"/>
            <a:ext cx="1812544" cy="292608"/>
          </a:xfrm>
          <a:prstGeom prst="rect">
            <a:avLst/>
          </a:prstGeom>
        </p:spPr>
      </p:pic>
    </p:spTree>
    <p:extLst>
      <p:ext uri="{BB962C8B-B14F-4D97-AF65-F5344CB8AC3E}">
        <p14:creationId xmlns:p14="http://schemas.microsoft.com/office/powerpoint/2010/main" val="15202409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ck Notes slide Layout">
    <p:bg>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black"/>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black">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22099748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Graphic 4" descr="Microsoft 365 logo">
            <a:extLst>
              <a:ext uri="{FF2B5EF4-FFF2-40B4-BE49-F238E27FC236}">
                <a16:creationId xmlns:a16="http://schemas.microsoft.com/office/drawing/2014/main" id="{AE6D4B2A-C6D5-45FF-8810-ED8D9F75E68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84200" y="585788"/>
            <a:ext cx="1812544" cy="292608"/>
          </a:xfrm>
          <a:prstGeom prst="rect">
            <a:avLst/>
          </a:prstGeom>
        </p:spPr>
      </p:pic>
    </p:spTree>
    <p:extLst>
      <p:ext uri="{BB962C8B-B14F-4D97-AF65-F5344CB8AC3E}">
        <p14:creationId xmlns:p14="http://schemas.microsoft.com/office/powerpoint/2010/main" val="40871377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84" name="Picture 83">
            <a:extLst>
              <a:ext uri="{FF2B5EF4-FFF2-40B4-BE49-F238E27FC236}">
                <a16:creationId xmlns:a16="http://schemas.microsoft.com/office/drawing/2014/main" id="{C53EFACE-3049-434D-80B1-93035F1F5C4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201343" y="-580571"/>
            <a:ext cx="10581785" cy="8535307"/>
          </a:xfrm>
          <a:prstGeom prst="rect">
            <a:avLst/>
          </a:prstGeom>
        </p:spPr>
      </p:pic>
      <p:sp useBgFill="1">
        <p:nvSpPr>
          <p:cNvPr id="75" name="Rectangle: Rounded Corners 21">
            <a:extLst>
              <a:ext uri="{FF2B5EF4-FFF2-40B4-BE49-F238E27FC236}">
                <a16:creationId xmlns:a16="http://schemas.microsoft.com/office/drawing/2014/main" id="{E4AE03E2-1C51-354B-9EB5-A7E601C41BD4}"/>
              </a:ext>
            </a:extLst>
          </p:cNvPr>
          <p:cNvSpPr/>
          <p:nvPr userDrawn="1"/>
        </p:nvSpPr>
        <p:spPr>
          <a:xfrm>
            <a:off x="8342377" y="-2592472"/>
            <a:ext cx="1536645" cy="3148973"/>
          </a:xfrm>
          <a:prstGeom prst="roundRect">
            <a:avLst/>
          </a:prstGeom>
          <a:solidFill>
            <a:schemeClr val="bg1"/>
          </a:solidFill>
          <a:ln>
            <a:noFill/>
          </a:ln>
          <a:effectLst>
            <a:outerShdw blurRad="571500" dist="393700" dir="2700000" sx="96000" sy="96000" algn="br" rotWithShape="0">
              <a:schemeClr val="tx1">
                <a:lumMod val="95000"/>
                <a:lumOff val="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76" name="Rectangle: Rounded Corners 21">
            <a:extLst>
              <a:ext uri="{FF2B5EF4-FFF2-40B4-BE49-F238E27FC236}">
                <a16:creationId xmlns:a16="http://schemas.microsoft.com/office/drawing/2014/main" id="{2674BEF3-0110-2A45-BCA0-F79B54D8C946}"/>
              </a:ext>
            </a:extLst>
          </p:cNvPr>
          <p:cNvSpPr/>
          <p:nvPr userDrawn="1"/>
        </p:nvSpPr>
        <p:spPr>
          <a:xfrm>
            <a:off x="10331432" y="-1489535"/>
            <a:ext cx="1536645" cy="3148973"/>
          </a:xfrm>
          <a:prstGeom prst="roundRect">
            <a:avLst/>
          </a:prstGeom>
          <a:solidFill>
            <a:schemeClr val="bg1"/>
          </a:solidFill>
          <a:ln>
            <a:noFill/>
          </a:ln>
          <a:effectLst>
            <a:outerShdw blurRad="571500" dist="393700" dir="2700000" sx="96000" sy="96000" algn="br" rotWithShape="0">
              <a:schemeClr val="tx1">
                <a:lumMod val="95000"/>
                <a:lumOff val="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77" name="Rectangle: Rounded Corners 21">
            <a:extLst>
              <a:ext uri="{FF2B5EF4-FFF2-40B4-BE49-F238E27FC236}">
                <a16:creationId xmlns:a16="http://schemas.microsoft.com/office/drawing/2014/main" id="{E0507A04-9726-A149-B7D8-4A5B1E296FD1}"/>
              </a:ext>
            </a:extLst>
          </p:cNvPr>
          <p:cNvSpPr/>
          <p:nvPr userDrawn="1"/>
        </p:nvSpPr>
        <p:spPr>
          <a:xfrm>
            <a:off x="8342377" y="904873"/>
            <a:ext cx="1536645" cy="3148973"/>
          </a:xfrm>
          <a:prstGeom prst="roundRect">
            <a:avLst/>
          </a:prstGeom>
          <a:solidFill>
            <a:schemeClr val="bg1"/>
          </a:solidFill>
          <a:ln>
            <a:noFill/>
          </a:ln>
          <a:effectLst>
            <a:outerShdw blurRad="571500" dist="393700" dir="2700000" sx="96000" sy="96000" algn="br" rotWithShape="0">
              <a:schemeClr val="tx1">
                <a:lumMod val="95000"/>
                <a:lumOff val="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78" name="Rectangle: Rounded Corners 21">
            <a:extLst>
              <a:ext uri="{FF2B5EF4-FFF2-40B4-BE49-F238E27FC236}">
                <a16:creationId xmlns:a16="http://schemas.microsoft.com/office/drawing/2014/main" id="{185FE4DE-6925-7B4F-BDB5-F8EF0F73FF74}"/>
              </a:ext>
            </a:extLst>
          </p:cNvPr>
          <p:cNvSpPr/>
          <p:nvPr userDrawn="1"/>
        </p:nvSpPr>
        <p:spPr>
          <a:xfrm>
            <a:off x="8342377" y="4364510"/>
            <a:ext cx="1536645" cy="3148973"/>
          </a:xfrm>
          <a:prstGeom prst="roundRect">
            <a:avLst/>
          </a:prstGeom>
          <a:solidFill>
            <a:schemeClr val="bg1"/>
          </a:solidFill>
          <a:ln>
            <a:noFill/>
          </a:ln>
          <a:effectLst>
            <a:outerShdw blurRad="571500" dist="393700" dir="2700000" sx="96000" sy="96000" algn="br" rotWithShape="0">
              <a:schemeClr val="tx1">
                <a:lumMod val="95000"/>
                <a:lumOff val="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79" name="Rectangle: Rounded Corners 21">
            <a:extLst>
              <a:ext uri="{FF2B5EF4-FFF2-40B4-BE49-F238E27FC236}">
                <a16:creationId xmlns:a16="http://schemas.microsoft.com/office/drawing/2014/main" id="{E9AD9043-A207-D14A-8E88-EB5992B7634B}"/>
              </a:ext>
            </a:extLst>
          </p:cNvPr>
          <p:cNvSpPr/>
          <p:nvPr userDrawn="1"/>
        </p:nvSpPr>
        <p:spPr>
          <a:xfrm>
            <a:off x="6334467" y="2016641"/>
            <a:ext cx="1536645" cy="3148973"/>
          </a:xfrm>
          <a:prstGeom prst="roundRect">
            <a:avLst/>
          </a:prstGeom>
          <a:solidFill>
            <a:schemeClr val="bg1"/>
          </a:solidFill>
          <a:ln>
            <a:noFill/>
          </a:ln>
          <a:effectLst>
            <a:outerShdw blurRad="571500" dist="393700" dir="2700000" sx="96000" sy="96000" algn="br" rotWithShape="0">
              <a:schemeClr val="tx1">
                <a:lumMod val="95000"/>
                <a:lumOff val="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80" name="Rectangle: Rounded Corners 21">
            <a:extLst>
              <a:ext uri="{FF2B5EF4-FFF2-40B4-BE49-F238E27FC236}">
                <a16:creationId xmlns:a16="http://schemas.microsoft.com/office/drawing/2014/main" id="{9BD43CB0-D926-E14C-86C7-AA1BCF5FDA0A}"/>
              </a:ext>
            </a:extLst>
          </p:cNvPr>
          <p:cNvSpPr/>
          <p:nvPr userDrawn="1"/>
        </p:nvSpPr>
        <p:spPr>
          <a:xfrm>
            <a:off x="6334467" y="5476278"/>
            <a:ext cx="1536645" cy="3148973"/>
          </a:xfrm>
          <a:prstGeom prst="roundRect">
            <a:avLst/>
          </a:prstGeom>
          <a:solidFill>
            <a:schemeClr val="bg1"/>
          </a:solidFill>
          <a:ln>
            <a:noFill/>
          </a:ln>
          <a:effectLst>
            <a:outerShdw blurRad="571500" dist="393700" dir="2700000" sx="96000" sy="96000" algn="br" rotWithShape="0">
              <a:schemeClr val="tx1">
                <a:lumMod val="95000"/>
                <a:lumOff val="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81" name="Rectangle: Rounded Corners 21">
            <a:extLst>
              <a:ext uri="{FF2B5EF4-FFF2-40B4-BE49-F238E27FC236}">
                <a16:creationId xmlns:a16="http://schemas.microsoft.com/office/drawing/2014/main" id="{3A288116-721C-0840-9045-957517565531}"/>
              </a:ext>
            </a:extLst>
          </p:cNvPr>
          <p:cNvSpPr/>
          <p:nvPr userDrawn="1"/>
        </p:nvSpPr>
        <p:spPr>
          <a:xfrm>
            <a:off x="10331432" y="2007810"/>
            <a:ext cx="1536645" cy="3148973"/>
          </a:xfrm>
          <a:prstGeom prst="roundRect">
            <a:avLst/>
          </a:prstGeom>
          <a:solidFill>
            <a:schemeClr val="bg1"/>
          </a:solidFill>
          <a:ln>
            <a:noFill/>
          </a:ln>
          <a:effectLst>
            <a:outerShdw blurRad="571500" dist="393700" dir="2700000" sx="96000" sy="96000" algn="br" rotWithShape="0">
              <a:schemeClr val="tx1">
                <a:lumMod val="95000"/>
                <a:lumOff val="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82" name="Rectangle: Rounded Corners 21">
            <a:extLst>
              <a:ext uri="{FF2B5EF4-FFF2-40B4-BE49-F238E27FC236}">
                <a16:creationId xmlns:a16="http://schemas.microsoft.com/office/drawing/2014/main" id="{43A85EED-FCF7-8646-9B0A-99370A8F1601}"/>
              </a:ext>
            </a:extLst>
          </p:cNvPr>
          <p:cNvSpPr/>
          <p:nvPr userDrawn="1"/>
        </p:nvSpPr>
        <p:spPr>
          <a:xfrm>
            <a:off x="10331432" y="5476874"/>
            <a:ext cx="1536645" cy="3148973"/>
          </a:xfrm>
          <a:prstGeom prst="roundRect">
            <a:avLst/>
          </a:prstGeom>
          <a:solidFill>
            <a:schemeClr val="bg1"/>
          </a:solidFill>
          <a:ln>
            <a:noFill/>
          </a:ln>
          <a:effectLst>
            <a:outerShdw blurRad="571500" dist="393700" dir="2700000" sx="96000" sy="96000" algn="br" rotWithShape="0">
              <a:schemeClr val="tx1">
                <a:lumMod val="95000"/>
                <a:lumOff val="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68" name="Rectangle: Rounded Corners 21">
            <a:extLst>
              <a:ext uri="{FF2B5EF4-FFF2-40B4-BE49-F238E27FC236}">
                <a16:creationId xmlns:a16="http://schemas.microsoft.com/office/drawing/2014/main" id="{1EF9F7CF-C60F-A949-8CBB-D4155737C1C0}"/>
              </a:ext>
            </a:extLst>
          </p:cNvPr>
          <p:cNvSpPr/>
          <p:nvPr/>
        </p:nvSpPr>
        <p:spPr>
          <a:xfrm>
            <a:off x="6350005" y="-1469255"/>
            <a:ext cx="1536645" cy="3148973"/>
          </a:xfrm>
          <a:prstGeom prst="roundRect">
            <a:avLst/>
          </a:prstGeom>
          <a:solidFill>
            <a:schemeClr val="bg1"/>
          </a:solidFill>
          <a:ln>
            <a:noFill/>
          </a:ln>
          <a:effectLst>
            <a:outerShdw blurRad="571500" dist="393700" dir="2700000" sx="96000" sy="96000" algn="br" rotWithShape="0">
              <a:schemeClr val="tx1">
                <a:lumMod val="95000"/>
                <a:lumOff val="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1">
            <a:extLst>
              <a:ext uri="{FF2B5EF4-FFF2-40B4-BE49-F238E27FC236}">
                <a16:creationId xmlns:a16="http://schemas.microsoft.com/office/drawing/2014/main" id="{AAC3F5B3-72B2-5247-8614-0945E6729534}"/>
              </a:ext>
            </a:extLst>
          </p:cNvPr>
          <p:cNvSpPr>
            <a:spLocks noGrp="1"/>
          </p:cNvSpPr>
          <p:nvPr>
            <p:ph type="title"/>
          </p:nvPr>
        </p:nvSpPr>
        <p:spPr>
          <a:xfrm>
            <a:off x="588263" y="457200"/>
            <a:ext cx="3814404" cy="1107996"/>
          </a:xfrm>
        </p:spPr>
        <p:txBody>
          <a:bodyPr>
            <a:spAutoFit/>
          </a:bodyPr>
          <a:lstStyle/>
          <a:p>
            <a:r>
              <a:rPr lang="en-US"/>
              <a:t>Click to edit Master title style</a:t>
            </a:r>
          </a:p>
        </p:txBody>
      </p:sp>
      <p:sp>
        <p:nvSpPr>
          <p:cNvPr id="4" name="Text Placeholder 3">
            <a:extLst>
              <a:ext uri="{FF2B5EF4-FFF2-40B4-BE49-F238E27FC236}">
                <a16:creationId xmlns:a16="http://schemas.microsoft.com/office/drawing/2014/main" id="{F22547CE-BF6C-5140-A36A-3F8EC03AD48B}"/>
              </a:ext>
            </a:extLst>
          </p:cNvPr>
          <p:cNvSpPr>
            <a:spLocks noGrp="1"/>
          </p:cNvSpPr>
          <p:nvPr>
            <p:ph type="body" sz="quarter" idx="10"/>
          </p:nvPr>
        </p:nvSpPr>
        <p:spPr>
          <a:xfrm>
            <a:off x="588263" y="1779318"/>
            <a:ext cx="3568500" cy="1529971"/>
          </a:xfrm>
        </p:spPr>
        <p:txBody>
          <a:bodyPr wrap="square">
            <a:spAutoFit/>
          </a:bodyPr>
          <a:lstStyle>
            <a:lvl1pPr marL="0" indent="0">
              <a:lnSpc>
                <a:spcPct val="110000"/>
              </a:lnSpc>
              <a:spcBef>
                <a:spcPts val="1224"/>
              </a:spcBef>
              <a:buClr>
                <a:schemeClr val="tx1"/>
              </a:buClr>
              <a:buFont typeface="Wingdings" panose="05000000000000000000" pitchFamily="2" charset="2"/>
              <a:buNone/>
              <a:defRPr sz="1600" b="0">
                <a:latin typeface="Segoe UI" panose="020B0502040204020203" pitchFamily="34" charset="0"/>
                <a:cs typeface="Segoe UI" panose="020B0502040204020203" pitchFamily="34" charset="0"/>
              </a:defRPr>
            </a:lvl1pPr>
            <a:lvl2pPr marL="255588" indent="0">
              <a:lnSpc>
                <a:spcPct val="110000"/>
              </a:lnSpc>
              <a:buFont typeface="Wingdings" panose="05000000000000000000" pitchFamily="2" charset="2"/>
              <a:buNone/>
              <a:defRPr sz="1600" b="0"/>
            </a:lvl2pPr>
            <a:lvl3pPr marL="450850" indent="0">
              <a:lnSpc>
                <a:spcPct val="110000"/>
              </a:lnSpc>
              <a:buFont typeface="Wingdings" panose="05000000000000000000" pitchFamily="2" charset="2"/>
              <a:buNone/>
              <a:tabLst/>
              <a:defRPr sz="1600" b="0"/>
            </a:lvl3pPr>
            <a:lvl4pPr marL="652462" indent="0">
              <a:lnSpc>
                <a:spcPct val="110000"/>
              </a:lnSpc>
              <a:buFont typeface="Wingdings" panose="05000000000000000000" pitchFamily="2" charset="2"/>
              <a:buNone/>
              <a:defRPr sz="1600" b="0"/>
            </a:lvl4pPr>
            <a:lvl5pPr marL="854075" indent="0">
              <a:lnSpc>
                <a:spcPct val="110000"/>
              </a:lnSpc>
              <a:buFont typeface="Wingdings" panose="05000000000000000000" pitchFamily="2" charset="2"/>
              <a:buNone/>
              <a:tabLst/>
              <a:defRPr sz="16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C3AB1450-D2F0-004A-AFE5-9A4C12DE5802}"/>
              </a:ext>
            </a:extLst>
          </p:cNvPr>
          <p:cNvPicPr>
            <a:picLocks noChangeAspect="1"/>
          </p:cNvPicPr>
          <p:nvPr userDrawn="1"/>
        </p:nvPicPr>
        <p:blipFill>
          <a:blip r:embed="rId3"/>
          <a:stretch>
            <a:fillRect/>
          </a:stretch>
        </p:blipFill>
        <p:spPr>
          <a:xfrm>
            <a:off x="8295364" y="829909"/>
            <a:ext cx="1646297" cy="3263880"/>
          </a:xfrm>
          <a:prstGeom prst="rect">
            <a:avLst/>
          </a:prstGeom>
        </p:spPr>
      </p:pic>
      <p:pic>
        <p:nvPicPr>
          <p:cNvPr id="9" name="Picture 8">
            <a:extLst>
              <a:ext uri="{FF2B5EF4-FFF2-40B4-BE49-F238E27FC236}">
                <a16:creationId xmlns:a16="http://schemas.microsoft.com/office/drawing/2014/main" id="{E0AE102A-53D7-EA43-9643-AB383EB47CB7}"/>
              </a:ext>
            </a:extLst>
          </p:cNvPr>
          <p:cNvPicPr>
            <a:picLocks noChangeAspect="1"/>
          </p:cNvPicPr>
          <p:nvPr userDrawn="1"/>
        </p:nvPicPr>
        <p:blipFill>
          <a:blip r:embed="rId3"/>
          <a:stretch>
            <a:fillRect/>
          </a:stretch>
        </p:blipFill>
        <p:spPr>
          <a:xfrm>
            <a:off x="8295364" y="4309744"/>
            <a:ext cx="1646297" cy="3263880"/>
          </a:xfrm>
          <a:prstGeom prst="rect">
            <a:avLst/>
          </a:prstGeom>
        </p:spPr>
      </p:pic>
      <p:pic>
        <p:nvPicPr>
          <p:cNvPr id="19" name="Picture 18">
            <a:extLst>
              <a:ext uri="{FF2B5EF4-FFF2-40B4-BE49-F238E27FC236}">
                <a16:creationId xmlns:a16="http://schemas.microsoft.com/office/drawing/2014/main" id="{DAB40916-A688-0B45-9F89-CBA181373AE9}"/>
              </a:ext>
            </a:extLst>
          </p:cNvPr>
          <p:cNvPicPr>
            <a:picLocks noChangeAspect="1"/>
          </p:cNvPicPr>
          <p:nvPr userDrawn="1"/>
        </p:nvPicPr>
        <p:blipFill>
          <a:blip r:embed="rId3"/>
          <a:stretch>
            <a:fillRect/>
          </a:stretch>
        </p:blipFill>
        <p:spPr>
          <a:xfrm>
            <a:off x="8295364" y="-2649925"/>
            <a:ext cx="1646297" cy="3263880"/>
          </a:xfrm>
          <a:prstGeom prst="rect">
            <a:avLst/>
          </a:prstGeom>
        </p:spPr>
      </p:pic>
      <p:pic>
        <p:nvPicPr>
          <p:cNvPr id="22" name="Picture 21">
            <a:extLst>
              <a:ext uri="{FF2B5EF4-FFF2-40B4-BE49-F238E27FC236}">
                <a16:creationId xmlns:a16="http://schemas.microsoft.com/office/drawing/2014/main" id="{F0D5EFFD-6D68-B447-A42C-884B706E848E}"/>
              </a:ext>
            </a:extLst>
          </p:cNvPr>
          <p:cNvPicPr>
            <a:picLocks noChangeAspect="1"/>
          </p:cNvPicPr>
          <p:nvPr userDrawn="1"/>
        </p:nvPicPr>
        <p:blipFill>
          <a:blip r:embed="rId3"/>
          <a:stretch>
            <a:fillRect/>
          </a:stretch>
        </p:blipFill>
        <p:spPr>
          <a:xfrm>
            <a:off x="6295180" y="1939386"/>
            <a:ext cx="1646297" cy="3263880"/>
          </a:xfrm>
          <a:prstGeom prst="rect">
            <a:avLst/>
          </a:prstGeom>
        </p:spPr>
      </p:pic>
      <p:pic>
        <p:nvPicPr>
          <p:cNvPr id="25" name="Picture 24">
            <a:extLst>
              <a:ext uri="{FF2B5EF4-FFF2-40B4-BE49-F238E27FC236}">
                <a16:creationId xmlns:a16="http://schemas.microsoft.com/office/drawing/2014/main" id="{5B5FF592-A113-5C40-8EC5-F14D8AB82F89}"/>
              </a:ext>
            </a:extLst>
          </p:cNvPr>
          <p:cNvPicPr>
            <a:picLocks noChangeAspect="1"/>
          </p:cNvPicPr>
          <p:nvPr userDrawn="1"/>
        </p:nvPicPr>
        <p:blipFill>
          <a:blip r:embed="rId3"/>
          <a:stretch>
            <a:fillRect/>
          </a:stretch>
        </p:blipFill>
        <p:spPr>
          <a:xfrm>
            <a:off x="6295180" y="5419221"/>
            <a:ext cx="1646297" cy="3263880"/>
          </a:xfrm>
          <a:prstGeom prst="rect">
            <a:avLst/>
          </a:prstGeom>
        </p:spPr>
      </p:pic>
      <p:pic>
        <p:nvPicPr>
          <p:cNvPr id="28" name="Picture 27">
            <a:extLst>
              <a:ext uri="{FF2B5EF4-FFF2-40B4-BE49-F238E27FC236}">
                <a16:creationId xmlns:a16="http://schemas.microsoft.com/office/drawing/2014/main" id="{138B9A26-8551-0E4F-A5FD-7C7E0F1D56AD}"/>
              </a:ext>
            </a:extLst>
          </p:cNvPr>
          <p:cNvPicPr>
            <a:picLocks noChangeAspect="1"/>
          </p:cNvPicPr>
          <p:nvPr userDrawn="1"/>
        </p:nvPicPr>
        <p:blipFill>
          <a:blip r:embed="rId3"/>
          <a:stretch>
            <a:fillRect/>
          </a:stretch>
        </p:blipFill>
        <p:spPr>
          <a:xfrm>
            <a:off x="6295180" y="-1540448"/>
            <a:ext cx="1646297" cy="3263880"/>
          </a:xfrm>
          <a:prstGeom prst="rect">
            <a:avLst/>
          </a:prstGeom>
          <a:noFill/>
          <a:ln>
            <a:noFill/>
          </a:ln>
          <a:effectLst/>
        </p:spPr>
      </p:pic>
      <p:pic>
        <p:nvPicPr>
          <p:cNvPr id="31" name="Picture 30">
            <a:extLst>
              <a:ext uri="{FF2B5EF4-FFF2-40B4-BE49-F238E27FC236}">
                <a16:creationId xmlns:a16="http://schemas.microsoft.com/office/drawing/2014/main" id="{AFBE15F2-E5B9-A641-A8BC-BFE0C354E662}"/>
              </a:ext>
            </a:extLst>
          </p:cNvPr>
          <p:cNvPicPr>
            <a:picLocks noChangeAspect="1"/>
          </p:cNvPicPr>
          <p:nvPr userDrawn="1"/>
        </p:nvPicPr>
        <p:blipFill>
          <a:blip r:embed="rId3"/>
          <a:stretch>
            <a:fillRect/>
          </a:stretch>
        </p:blipFill>
        <p:spPr>
          <a:xfrm>
            <a:off x="10279922" y="1939386"/>
            <a:ext cx="1646297" cy="3263880"/>
          </a:xfrm>
          <a:prstGeom prst="rect">
            <a:avLst/>
          </a:prstGeom>
        </p:spPr>
      </p:pic>
      <p:pic>
        <p:nvPicPr>
          <p:cNvPr id="34" name="Picture 33">
            <a:extLst>
              <a:ext uri="{FF2B5EF4-FFF2-40B4-BE49-F238E27FC236}">
                <a16:creationId xmlns:a16="http://schemas.microsoft.com/office/drawing/2014/main" id="{56E57792-DF95-9A49-B479-6F467D1FCEBC}"/>
              </a:ext>
            </a:extLst>
          </p:cNvPr>
          <p:cNvPicPr>
            <a:picLocks noChangeAspect="1"/>
          </p:cNvPicPr>
          <p:nvPr userDrawn="1"/>
        </p:nvPicPr>
        <p:blipFill>
          <a:blip r:embed="rId3"/>
          <a:stretch>
            <a:fillRect/>
          </a:stretch>
        </p:blipFill>
        <p:spPr>
          <a:xfrm>
            <a:off x="10279922" y="5419221"/>
            <a:ext cx="1646297" cy="3263880"/>
          </a:xfrm>
          <a:prstGeom prst="rect">
            <a:avLst/>
          </a:prstGeom>
        </p:spPr>
      </p:pic>
      <p:pic>
        <p:nvPicPr>
          <p:cNvPr id="37" name="Picture 36">
            <a:extLst>
              <a:ext uri="{FF2B5EF4-FFF2-40B4-BE49-F238E27FC236}">
                <a16:creationId xmlns:a16="http://schemas.microsoft.com/office/drawing/2014/main" id="{F509A7D8-1D9F-FA4F-925A-3FF35543AC43}"/>
              </a:ext>
            </a:extLst>
          </p:cNvPr>
          <p:cNvPicPr>
            <a:picLocks noChangeAspect="1"/>
          </p:cNvPicPr>
          <p:nvPr userDrawn="1"/>
        </p:nvPicPr>
        <p:blipFill>
          <a:blip r:embed="rId3"/>
          <a:stretch>
            <a:fillRect/>
          </a:stretch>
        </p:blipFill>
        <p:spPr>
          <a:xfrm>
            <a:off x="10279922" y="-1540448"/>
            <a:ext cx="1646297" cy="3263880"/>
          </a:xfrm>
          <a:prstGeom prst="rect">
            <a:avLst/>
          </a:prstGeom>
        </p:spPr>
      </p:pic>
      <p:sp>
        <p:nvSpPr>
          <p:cNvPr id="58" name="Picture Placeholder 3">
            <a:extLst>
              <a:ext uri="{FF2B5EF4-FFF2-40B4-BE49-F238E27FC236}">
                <a16:creationId xmlns:a16="http://schemas.microsoft.com/office/drawing/2014/main" id="{488D0316-B227-4E47-A000-0E9EB0A55BC1}"/>
              </a:ext>
            </a:extLst>
          </p:cNvPr>
          <p:cNvSpPr>
            <a:spLocks noGrp="1" noChangeAspect="1"/>
          </p:cNvSpPr>
          <p:nvPr>
            <p:ph type="pic" sz="quarter" idx="11"/>
          </p:nvPr>
        </p:nvSpPr>
        <p:spPr>
          <a:xfrm>
            <a:off x="6398467" y="2021418"/>
            <a:ext cx="1440599" cy="3099816"/>
          </a:xfrm>
          <a:custGeom>
            <a:avLst/>
            <a:gdLst>
              <a:gd name="connsiteX0" fmla="*/ 2345192 w 2857253"/>
              <a:gd name="connsiteY0" fmla="*/ 986 h 6164592"/>
              <a:gd name="connsiteX1" fmla="*/ 2508845 w 2857253"/>
              <a:gd name="connsiteY1" fmla="*/ 10328 h 6164592"/>
              <a:gd name="connsiteX2" fmla="*/ 2663147 w 2857253"/>
              <a:gd name="connsiteY2" fmla="*/ 36020 h 6164592"/>
              <a:gd name="connsiteX3" fmla="*/ 2829139 w 2857253"/>
              <a:gd name="connsiteY3" fmla="*/ 211188 h 6164592"/>
              <a:gd name="connsiteX4" fmla="*/ 2845504 w 2857253"/>
              <a:gd name="connsiteY4" fmla="*/ 559190 h 6164592"/>
              <a:gd name="connsiteX5" fmla="*/ 2833814 w 2857253"/>
              <a:gd name="connsiteY5" fmla="*/ 799756 h 6164592"/>
              <a:gd name="connsiteX6" fmla="*/ 2840828 w 2857253"/>
              <a:gd name="connsiteY6" fmla="*/ 1180456 h 6164592"/>
              <a:gd name="connsiteX7" fmla="*/ 2850180 w 2857253"/>
              <a:gd name="connsiteY7" fmla="*/ 1395330 h 6164592"/>
              <a:gd name="connsiteX8" fmla="*/ 2850180 w 2857253"/>
              <a:gd name="connsiteY8" fmla="*/ 5741852 h 6164592"/>
              <a:gd name="connsiteX9" fmla="*/ 2826801 w 2857253"/>
              <a:gd name="connsiteY9" fmla="*/ 5963732 h 6164592"/>
              <a:gd name="connsiteX10" fmla="*/ 2766015 w 2857253"/>
              <a:gd name="connsiteY10" fmla="*/ 6054820 h 6164592"/>
              <a:gd name="connsiteX11" fmla="*/ 2429356 w 2857253"/>
              <a:gd name="connsiteY11" fmla="*/ 6164592 h 6164592"/>
              <a:gd name="connsiteX12" fmla="*/ 362647 w 2857253"/>
              <a:gd name="connsiteY12" fmla="*/ 6162257 h 6164592"/>
              <a:gd name="connsiteX13" fmla="*/ 103139 w 2857253"/>
              <a:gd name="connsiteY13" fmla="*/ 6078176 h 6164592"/>
              <a:gd name="connsiteX14" fmla="*/ 7285 w 2857253"/>
              <a:gd name="connsiteY14" fmla="*/ 5828268 h 6164592"/>
              <a:gd name="connsiteX15" fmla="*/ 7285 w 2857253"/>
              <a:gd name="connsiteY15" fmla="*/ 3915425 h 6164592"/>
              <a:gd name="connsiteX16" fmla="*/ 7285 w 2857253"/>
              <a:gd name="connsiteY16" fmla="*/ 3214749 h 6164592"/>
              <a:gd name="connsiteX17" fmla="*/ 4947 w 2857253"/>
              <a:gd name="connsiteY17" fmla="*/ 687648 h 6164592"/>
              <a:gd name="connsiteX18" fmla="*/ 2609 w 2857253"/>
              <a:gd name="connsiteY18" fmla="*/ 398035 h 6164592"/>
              <a:gd name="connsiteX19" fmla="*/ 47029 w 2857253"/>
              <a:gd name="connsiteY19" fmla="*/ 152799 h 6164592"/>
              <a:gd name="connsiteX20" fmla="*/ 234062 w 2857253"/>
              <a:gd name="connsiteY20" fmla="*/ 22006 h 6164592"/>
              <a:gd name="connsiteX21" fmla="*/ 545003 w 2857253"/>
              <a:gd name="connsiteY21" fmla="*/ 7993 h 6164592"/>
              <a:gd name="connsiteX22" fmla="*/ 615141 w 2857253"/>
              <a:gd name="connsiteY22" fmla="*/ 85067 h 6164592"/>
              <a:gd name="connsiteX23" fmla="*/ 790484 w 2857253"/>
              <a:gd name="connsiteY23" fmla="*/ 250893 h 6164592"/>
              <a:gd name="connsiteX24" fmla="*/ 2022561 w 2857253"/>
              <a:gd name="connsiteY24" fmla="*/ 250893 h 6164592"/>
              <a:gd name="connsiteX25" fmla="*/ 2195566 w 2857253"/>
              <a:gd name="connsiteY25" fmla="*/ 178490 h 6164592"/>
              <a:gd name="connsiteX26" fmla="*/ 2230634 w 2857253"/>
              <a:gd name="connsiteY26" fmla="*/ 92074 h 6164592"/>
              <a:gd name="connsiteX27" fmla="*/ 2345192 w 2857253"/>
              <a:gd name="connsiteY27" fmla="*/ 986 h 6164592"/>
              <a:gd name="connsiteX0" fmla="*/ 2345192 w 2857253"/>
              <a:gd name="connsiteY0" fmla="*/ 986 h 6164592"/>
              <a:gd name="connsiteX1" fmla="*/ 2508845 w 2857253"/>
              <a:gd name="connsiteY1" fmla="*/ 10328 h 6164592"/>
              <a:gd name="connsiteX2" fmla="*/ 2663147 w 2857253"/>
              <a:gd name="connsiteY2" fmla="*/ 36020 h 6164592"/>
              <a:gd name="connsiteX3" fmla="*/ 2829139 w 2857253"/>
              <a:gd name="connsiteY3" fmla="*/ 211188 h 6164592"/>
              <a:gd name="connsiteX4" fmla="*/ 2845504 w 2857253"/>
              <a:gd name="connsiteY4" fmla="*/ 554819 h 6164592"/>
              <a:gd name="connsiteX5" fmla="*/ 2833814 w 2857253"/>
              <a:gd name="connsiteY5" fmla="*/ 799756 h 6164592"/>
              <a:gd name="connsiteX6" fmla="*/ 2840828 w 2857253"/>
              <a:gd name="connsiteY6" fmla="*/ 1180456 h 6164592"/>
              <a:gd name="connsiteX7" fmla="*/ 2850180 w 2857253"/>
              <a:gd name="connsiteY7" fmla="*/ 1395330 h 6164592"/>
              <a:gd name="connsiteX8" fmla="*/ 2850180 w 2857253"/>
              <a:gd name="connsiteY8" fmla="*/ 5741852 h 6164592"/>
              <a:gd name="connsiteX9" fmla="*/ 2826801 w 2857253"/>
              <a:gd name="connsiteY9" fmla="*/ 5963732 h 6164592"/>
              <a:gd name="connsiteX10" fmla="*/ 2766015 w 2857253"/>
              <a:gd name="connsiteY10" fmla="*/ 6054820 h 6164592"/>
              <a:gd name="connsiteX11" fmla="*/ 2429356 w 2857253"/>
              <a:gd name="connsiteY11" fmla="*/ 6164592 h 6164592"/>
              <a:gd name="connsiteX12" fmla="*/ 362647 w 2857253"/>
              <a:gd name="connsiteY12" fmla="*/ 6162257 h 6164592"/>
              <a:gd name="connsiteX13" fmla="*/ 103139 w 2857253"/>
              <a:gd name="connsiteY13" fmla="*/ 6078176 h 6164592"/>
              <a:gd name="connsiteX14" fmla="*/ 7285 w 2857253"/>
              <a:gd name="connsiteY14" fmla="*/ 5828268 h 6164592"/>
              <a:gd name="connsiteX15" fmla="*/ 7285 w 2857253"/>
              <a:gd name="connsiteY15" fmla="*/ 3915425 h 6164592"/>
              <a:gd name="connsiteX16" fmla="*/ 7285 w 2857253"/>
              <a:gd name="connsiteY16" fmla="*/ 3214749 h 6164592"/>
              <a:gd name="connsiteX17" fmla="*/ 4947 w 2857253"/>
              <a:gd name="connsiteY17" fmla="*/ 687648 h 6164592"/>
              <a:gd name="connsiteX18" fmla="*/ 2609 w 2857253"/>
              <a:gd name="connsiteY18" fmla="*/ 398035 h 6164592"/>
              <a:gd name="connsiteX19" fmla="*/ 47029 w 2857253"/>
              <a:gd name="connsiteY19" fmla="*/ 152799 h 6164592"/>
              <a:gd name="connsiteX20" fmla="*/ 234062 w 2857253"/>
              <a:gd name="connsiteY20" fmla="*/ 22006 h 6164592"/>
              <a:gd name="connsiteX21" fmla="*/ 545003 w 2857253"/>
              <a:gd name="connsiteY21" fmla="*/ 7993 h 6164592"/>
              <a:gd name="connsiteX22" fmla="*/ 615141 w 2857253"/>
              <a:gd name="connsiteY22" fmla="*/ 85067 h 6164592"/>
              <a:gd name="connsiteX23" fmla="*/ 790484 w 2857253"/>
              <a:gd name="connsiteY23" fmla="*/ 250893 h 6164592"/>
              <a:gd name="connsiteX24" fmla="*/ 2022561 w 2857253"/>
              <a:gd name="connsiteY24" fmla="*/ 250893 h 6164592"/>
              <a:gd name="connsiteX25" fmla="*/ 2195566 w 2857253"/>
              <a:gd name="connsiteY25" fmla="*/ 178490 h 6164592"/>
              <a:gd name="connsiteX26" fmla="*/ 2230634 w 2857253"/>
              <a:gd name="connsiteY26" fmla="*/ 92074 h 6164592"/>
              <a:gd name="connsiteX27" fmla="*/ 2345192 w 2857253"/>
              <a:gd name="connsiteY27" fmla="*/ 986 h 6164592"/>
              <a:gd name="connsiteX0" fmla="*/ 2345192 w 2857253"/>
              <a:gd name="connsiteY0" fmla="*/ 986 h 6164592"/>
              <a:gd name="connsiteX1" fmla="*/ 2508845 w 2857253"/>
              <a:gd name="connsiteY1" fmla="*/ 10328 h 6164592"/>
              <a:gd name="connsiteX2" fmla="*/ 2663147 w 2857253"/>
              <a:gd name="connsiteY2" fmla="*/ 36020 h 6164592"/>
              <a:gd name="connsiteX3" fmla="*/ 2829139 w 2857253"/>
              <a:gd name="connsiteY3" fmla="*/ 211188 h 6164592"/>
              <a:gd name="connsiteX4" fmla="*/ 2845504 w 2857253"/>
              <a:gd name="connsiteY4" fmla="*/ 554819 h 6164592"/>
              <a:gd name="connsiteX5" fmla="*/ 2851299 w 2857253"/>
              <a:gd name="connsiteY5" fmla="*/ 812870 h 6164592"/>
              <a:gd name="connsiteX6" fmla="*/ 2840828 w 2857253"/>
              <a:gd name="connsiteY6" fmla="*/ 1180456 h 6164592"/>
              <a:gd name="connsiteX7" fmla="*/ 2850180 w 2857253"/>
              <a:gd name="connsiteY7" fmla="*/ 1395330 h 6164592"/>
              <a:gd name="connsiteX8" fmla="*/ 2850180 w 2857253"/>
              <a:gd name="connsiteY8" fmla="*/ 5741852 h 6164592"/>
              <a:gd name="connsiteX9" fmla="*/ 2826801 w 2857253"/>
              <a:gd name="connsiteY9" fmla="*/ 5963732 h 6164592"/>
              <a:gd name="connsiteX10" fmla="*/ 2766015 w 2857253"/>
              <a:gd name="connsiteY10" fmla="*/ 6054820 h 6164592"/>
              <a:gd name="connsiteX11" fmla="*/ 2429356 w 2857253"/>
              <a:gd name="connsiteY11" fmla="*/ 6164592 h 6164592"/>
              <a:gd name="connsiteX12" fmla="*/ 362647 w 2857253"/>
              <a:gd name="connsiteY12" fmla="*/ 6162257 h 6164592"/>
              <a:gd name="connsiteX13" fmla="*/ 103139 w 2857253"/>
              <a:gd name="connsiteY13" fmla="*/ 6078176 h 6164592"/>
              <a:gd name="connsiteX14" fmla="*/ 7285 w 2857253"/>
              <a:gd name="connsiteY14" fmla="*/ 5828268 h 6164592"/>
              <a:gd name="connsiteX15" fmla="*/ 7285 w 2857253"/>
              <a:gd name="connsiteY15" fmla="*/ 3915425 h 6164592"/>
              <a:gd name="connsiteX16" fmla="*/ 7285 w 2857253"/>
              <a:gd name="connsiteY16" fmla="*/ 3214749 h 6164592"/>
              <a:gd name="connsiteX17" fmla="*/ 4947 w 2857253"/>
              <a:gd name="connsiteY17" fmla="*/ 687648 h 6164592"/>
              <a:gd name="connsiteX18" fmla="*/ 2609 w 2857253"/>
              <a:gd name="connsiteY18" fmla="*/ 398035 h 6164592"/>
              <a:gd name="connsiteX19" fmla="*/ 47029 w 2857253"/>
              <a:gd name="connsiteY19" fmla="*/ 152799 h 6164592"/>
              <a:gd name="connsiteX20" fmla="*/ 234062 w 2857253"/>
              <a:gd name="connsiteY20" fmla="*/ 22006 h 6164592"/>
              <a:gd name="connsiteX21" fmla="*/ 545003 w 2857253"/>
              <a:gd name="connsiteY21" fmla="*/ 7993 h 6164592"/>
              <a:gd name="connsiteX22" fmla="*/ 615141 w 2857253"/>
              <a:gd name="connsiteY22" fmla="*/ 85067 h 6164592"/>
              <a:gd name="connsiteX23" fmla="*/ 790484 w 2857253"/>
              <a:gd name="connsiteY23" fmla="*/ 250893 h 6164592"/>
              <a:gd name="connsiteX24" fmla="*/ 2022561 w 2857253"/>
              <a:gd name="connsiteY24" fmla="*/ 250893 h 6164592"/>
              <a:gd name="connsiteX25" fmla="*/ 2195566 w 2857253"/>
              <a:gd name="connsiteY25" fmla="*/ 178490 h 6164592"/>
              <a:gd name="connsiteX26" fmla="*/ 2230634 w 2857253"/>
              <a:gd name="connsiteY26" fmla="*/ 92074 h 6164592"/>
              <a:gd name="connsiteX27" fmla="*/ 2345192 w 2857253"/>
              <a:gd name="connsiteY27" fmla="*/ 986 h 6164592"/>
              <a:gd name="connsiteX0" fmla="*/ 2345192 w 2857253"/>
              <a:gd name="connsiteY0" fmla="*/ 986 h 6164592"/>
              <a:gd name="connsiteX1" fmla="*/ 2508845 w 2857253"/>
              <a:gd name="connsiteY1" fmla="*/ 10328 h 6164592"/>
              <a:gd name="connsiteX2" fmla="*/ 2663147 w 2857253"/>
              <a:gd name="connsiteY2" fmla="*/ 36020 h 6164592"/>
              <a:gd name="connsiteX3" fmla="*/ 2829139 w 2857253"/>
              <a:gd name="connsiteY3" fmla="*/ 211188 h 6164592"/>
              <a:gd name="connsiteX4" fmla="*/ 2845504 w 2857253"/>
              <a:gd name="connsiteY4" fmla="*/ 554819 h 6164592"/>
              <a:gd name="connsiteX5" fmla="*/ 2851299 w 2857253"/>
              <a:gd name="connsiteY5" fmla="*/ 812870 h 6164592"/>
              <a:gd name="connsiteX6" fmla="*/ 2853943 w 2857253"/>
              <a:gd name="connsiteY6" fmla="*/ 1184828 h 6164592"/>
              <a:gd name="connsiteX7" fmla="*/ 2850180 w 2857253"/>
              <a:gd name="connsiteY7" fmla="*/ 1395330 h 6164592"/>
              <a:gd name="connsiteX8" fmla="*/ 2850180 w 2857253"/>
              <a:gd name="connsiteY8" fmla="*/ 5741852 h 6164592"/>
              <a:gd name="connsiteX9" fmla="*/ 2826801 w 2857253"/>
              <a:gd name="connsiteY9" fmla="*/ 5963732 h 6164592"/>
              <a:gd name="connsiteX10" fmla="*/ 2766015 w 2857253"/>
              <a:gd name="connsiteY10" fmla="*/ 6054820 h 6164592"/>
              <a:gd name="connsiteX11" fmla="*/ 2429356 w 2857253"/>
              <a:gd name="connsiteY11" fmla="*/ 6164592 h 6164592"/>
              <a:gd name="connsiteX12" fmla="*/ 362647 w 2857253"/>
              <a:gd name="connsiteY12" fmla="*/ 6162257 h 6164592"/>
              <a:gd name="connsiteX13" fmla="*/ 103139 w 2857253"/>
              <a:gd name="connsiteY13" fmla="*/ 6078176 h 6164592"/>
              <a:gd name="connsiteX14" fmla="*/ 7285 w 2857253"/>
              <a:gd name="connsiteY14" fmla="*/ 5828268 h 6164592"/>
              <a:gd name="connsiteX15" fmla="*/ 7285 w 2857253"/>
              <a:gd name="connsiteY15" fmla="*/ 3915425 h 6164592"/>
              <a:gd name="connsiteX16" fmla="*/ 7285 w 2857253"/>
              <a:gd name="connsiteY16" fmla="*/ 3214749 h 6164592"/>
              <a:gd name="connsiteX17" fmla="*/ 4947 w 2857253"/>
              <a:gd name="connsiteY17" fmla="*/ 687648 h 6164592"/>
              <a:gd name="connsiteX18" fmla="*/ 2609 w 2857253"/>
              <a:gd name="connsiteY18" fmla="*/ 398035 h 6164592"/>
              <a:gd name="connsiteX19" fmla="*/ 47029 w 2857253"/>
              <a:gd name="connsiteY19" fmla="*/ 152799 h 6164592"/>
              <a:gd name="connsiteX20" fmla="*/ 234062 w 2857253"/>
              <a:gd name="connsiteY20" fmla="*/ 22006 h 6164592"/>
              <a:gd name="connsiteX21" fmla="*/ 545003 w 2857253"/>
              <a:gd name="connsiteY21" fmla="*/ 7993 h 6164592"/>
              <a:gd name="connsiteX22" fmla="*/ 615141 w 2857253"/>
              <a:gd name="connsiteY22" fmla="*/ 85067 h 6164592"/>
              <a:gd name="connsiteX23" fmla="*/ 790484 w 2857253"/>
              <a:gd name="connsiteY23" fmla="*/ 250893 h 6164592"/>
              <a:gd name="connsiteX24" fmla="*/ 2022561 w 2857253"/>
              <a:gd name="connsiteY24" fmla="*/ 250893 h 6164592"/>
              <a:gd name="connsiteX25" fmla="*/ 2195566 w 2857253"/>
              <a:gd name="connsiteY25" fmla="*/ 178490 h 6164592"/>
              <a:gd name="connsiteX26" fmla="*/ 2230634 w 2857253"/>
              <a:gd name="connsiteY26" fmla="*/ 92074 h 6164592"/>
              <a:gd name="connsiteX27" fmla="*/ 2345192 w 2857253"/>
              <a:gd name="connsiteY27" fmla="*/ 986 h 6164592"/>
              <a:gd name="connsiteX0" fmla="*/ 2345192 w 2860168"/>
              <a:gd name="connsiteY0" fmla="*/ 986 h 6164592"/>
              <a:gd name="connsiteX1" fmla="*/ 2508845 w 2860168"/>
              <a:gd name="connsiteY1" fmla="*/ 10328 h 6164592"/>
              <a:gd name="connsiteX2" fmla="*/ 2663147 w 2860168"/>
              <a:gd name="connsiteY2" fmla="*/ 36020 h 6164592"/>
              <a:gd name="connsiteX3" fmla="*/ 2829139 w 2860168"/>
              <a:gd name="connsiteY3" fmla="*/ 211188 h 6164592"/>
              <a:gd name="connsiteX4" fmla="*/ 2849875 w 2860168"/>
              <a:gd name="connsiteY4" fmla="*/ 554819 h 6164592"/>
              <a:gd name="connsiteX5" fmla="*/ 2851299 w 2860168"/>
              <a:gd name="connsiteY5" fmla="*/ 812870 h 6164592"/>
              <a:gd name="connsiteX6" fmla="*/ 2853943 w 2860168"/>
              <a:gd name="connsiteY6" fmla="*/ 1184828 h 6164592"/>
              <a:gd name="connsiteX7" fmla="*/ 2850180 w 2860168"/>
              <a:gd name="connsiteY7" fmla="*/ 1395330 h 6164592"/>
              <a:gd name="connsiteX8" fmla="*/ 2850180 w 2860168"/>
              <a:gd name="connsiteY8" fmla="*/ 5741852 h 6164592"/>
              <a:gd name="connsiteX9" fmla="*/ 2826801 w 2860168"/>
              <a:gd name="connsiteY9" fmla="*/ 5963732 h 6164592"/>
              <a:gd name="connsiteX10" fmla="*/ 2766015 w 2860168"/>
              <a:gd name="connsiteY10" fmla="*/ 6054820 h 6164592"/>
              <a:gd name="connsiteX11" fmla="*/ 2429356 w 2860168"/>
              <a:gd name="connsiteY11" fmla="*/ 6164592 h 6164592"/>
              <a:gd name="connsiteX12" fmla="*/ 362647 w 2860168"/>
              <a:gd name="connsiteY12" fmla="*/ 6162257 h 6164592"/>
              <a:gd name="connsiteX13" fmla="*/ 103139 w 2860168"/>
              <a:gd name="connsiteY13" fmla="*/ 6078176 h 6164592"/>
              <a:gd name="connsiteX14" fmla="*/ 7285 w 2860168"/>
              <a:gd name="connsiteY14" fmla="*/ 5828268 h 6164592"/>
              <a:gd name="connsiteX15" fmla="*/ 7285 w 2860168"/>
              <a:gd name="connsiteY15" fmla="*/ 3915425 h 6164592"/>
              <a:gd name="connsiteX16" fmla="*/ 7285 w 2860168"/>
              <a:gd name="connsiteY16" fmla="*/ 3214749 h 6164592"/>
              <a:gd name="connsiteX17" fmla="*/ 4947 w 2860168"/>
              <a:gd name="connsiteY17" fmla="*/ 687648 h 6164592"/>
              <a:gd name="connsiteX18" fmla="*/ 2609 w 2860168"/>
              <a:gd name="connsiteY18" fmla="*/ 398035 h 6164592"/>
              <a:gd name="connsiteX19" fmla="*/ 47029 w 2860168"/>
              <a:gd name="connsiteY19" fmla="*/ 152799 h 6164592"/>
              <a:gd name="connsiteX20" fmla="*/ 234062 w 2860168"/>
              <a:gd name="connsiteY20" fmla="*/ 22006 h 6164592"/>
              <a:gd name="connsiteX21" fmla="*/ 545003 w 2860168"/>
              <a:gd name="connsiteY21" fmla="*/ 7993 h 6164592"/>
              <a:gd name="connsiteX22" fmla="*/ 615141 w 2860168"/>
              <a:gd name="connsiteY22" fmla="*/ 85067 h 6164592"/>
              <a:gd name="connsiteX23" fmla="*/ 790484 w 2860168"/>
              <a:gd name="connsiteY23" fmla="*/ 250893 h 6164592"/>
              <a:gd name="connsiteX24" fmla="*/ 2022561 w 2860168"/>
              <a:gd name="connsiteY24" fmla="*/ 250893 h 6164592"/>
              <a:gd name="connsiteX25" fmla="*/ 2195566 w 2860168"/>
              <a:gd name="connsiteY25" fmla="*/ 178490 h 6164592"/>
              <a:gd name="connsiteX26" fmla="*/ 2230634 w 2860168"/>
              <a:gd name="connsiteY26" fmla="*/ 92074 h 6164592"/>
              <a:gd name="connsiteX27" fmla="*/ 2345192 w 2860168"/>
              <a:gd name="connsiteY27" fmla="*/ 986 h 6164592"/>
              <a:gd name="connsiteX0" fmla="*/ 2345192 w 2854520"/>
              <a:gd name="connsiteY0" fmla="*/ 986 h 6164592"/>
              <a:gd name="connsiteX1" fmla="*/ 2508845 w 2854520"/>
              <a:gd name="connsiteY1" fmla="*/ 10328 h 6164592"/>
              <a:gd name="connsiteX2" fmla="*/ 2663147 w 2854520"/>
              <a:gd name="connsiteY2" fmla="*/ 36020 h 6164592"/>
              <a:gd name="connsiteX3" fmla="*/ 2829139 w 2854520"/>
              <a:gd name="connsiteY3" fmla="*/ 211188 h 6164592"/>
              <a:gd name="connsiteX4" fmla="*/ 2849875 w 2854520"/>
              <a:gd name="connsiteY4" fmla="*/ 554819 h 6164592"/>
              <a:gd name="connsiteX5" fmla="*/ 2851299 w 2854520"/>
              <a:gd name="connsiteY5" fmla="*/ 812870 h 6164592"/>
              <a:gd name="connsiteX6" fmla="*/ 2853943 w 2854520"/>
              <a:gd name="connsiteY6" fmla="*/ 1184828 h 6164592"/>
              <a:gd name="connsiteX7" fmla="*/ 2850180 w 2854520"/>
              <a:gd name="connsiteY7" fmla="*/ 1395330 h 6164592"/>
              <a:gd name="connsiteX8" fmla="*/ 2850180 w 2854520"/>
              <a:gd name="connsiteY8" fmla="*/ 5741852 h 6164592"/>
              <a:gd name="connsiteX9" fmla="*/ 2826801 w 2854520"/>
              <a:gd name="connsiteY9" fmla="*/ 5963732 h 6164592"/>
              <a:gd name="connsiteX10" fmla="*/ 2766015 w 2854520"/>
              <a:gd name="connsiteY10" fmla="*/ 6054820 h 6164592"/>
              <a:gd name="connsiteX11" fmla="*/ 2429356 w 2854520"/>
              <a:gd name="connsiteY11" fmla="*/ 6164592 h 6164592"/>
              <a:gd name="connsiteX12" fmla="*/ 362647 w 2854520"/>
              <a:gd name="connsiteY12" fmla="*/ 6162257 h 6164592"/>
              <a:gd name="connsiteX13" fmla="*/ 103139 w 2854520"/>
              <a:gd name="connsiteY13" fmla="*/ 6078176 h 6164592"/>
              <a:gd name="connsiteX14" fmla="*/ 7285 w 2854520"/>
              <a:gd name="connsiteY14" fmla="*/ 5828268 h 6164592"/>
              <a:gd name="connsiteX15" fmla="*/ 7285 w 2854520"/>
              <a:gd name="connsiteY15" fmla="*/ 3915425 h 6164592"/>
              <a:gd name="connsiteX16" fmla="*/ 7285 w 2854520"/>
              <a:gd name="connsiteY16" fmla="*/ 3214749 h 6164592"/>
              <a:gd name="connsiteX17" fmla="*/ 4947 w 2854520"/>
              <a:gd name="connsiteY17" fmla="*/ 687648 h 6164592"/>
              <a:gd name="connsiteX18" fmla="*/ 2609 w 2854520"/>
              <a:gd name="connsiteY18" fmla="*/ 398035 h 6164592"/>
              <a:gd name="connsiteX19" fmla="*/ 47029 w 2854520"/>
              <a:gd name="connsiteY19" fmla="*/ 152799 h 6164592"/>
              <a:gd name="connsiteX20" fmla="*/ 234062 w 2854520"/>
              <a:gd name="connsiteY20" fmla="*/ 22006 h 6164592"/>
              <a:gd name="connsiteX21" fmla="*/ 545003 w 2854520"/>
              <a:gd name="connsiteY21" fmla="*/ 7993 h 6164592"/>
              <a:gd name="connsiteX22" fmla="*/ 615141 w 2854520"/>
              <a:gd name="connsiteY22" fmla="*/ 85067 h 6164592"/>
              <a:gd name="connsiteX23" fmla="*/ 790484 w 2854520"/>
              <a:gd name="connsiteY23" fmla="*/ 250893 h 6164592"/>
              <a:gd name="connsiteX24" fmla="*/ 2022561 w 2854520"/>
              <a:gd name="connsiteY24" fmla="*/ 250893 h 6164592"/>
              <a:gd name="connsiteX25" fmla="*/ 2195566 w 2854520"/>
              <a:gd name="connsiteY25" fmla="*/ 178490 h 6164592"/>
              <a:gd name="connsiteX26" fmla="*/ 2230634 w 2854520"/>
              <a:gd name="connsiteY26" fmla="*/ 92074 h 6164592"/>
              <a:gd name="connsiteX27" fmla="*/ 2345192 w 2854520"/>
              <a:gd name="connsiteY27" fmla="*/ 986 h 6164592"/>
              <a:gd name="connsiteX0" fmla="*/ 2345192 w 2854520"/>
              <a:gd name="connsiteY0" fmla="*/ 986 h 6164592"/>
              <a:gd name="connsiteX1" fmla="*/ 2508845 w 2854520"/>
              <a:gd name="connsiteY1" fmla="*/ 10328 h 6164592"/>
              <a:gd name="connsiteX2" fmla="*/ 2663147 w 2854520"/>
              <a:gd name="connsiteY2" fmla="*/ 36020 h 6164592"/>
              <a:gd name="connsiteX3" fmla="*/ 2829139 w 2854520"/>
              <a:gd name="connsiteY3" fmla="*/ 211188 h 6164592"/>
              <a:gd name="connsiteX4" fmla="*/ 2849875 w 2854520"/>
              <a:gd name="connsiteY4" fmla="*/ 554819 h 6164592"/>
              <a:gd name="connsiteX5" fmla="*/ 2851299 w 2854520"/>
              <a:gd name="connsiteY5" fmla="*/ 812870 h 6164592"/>
              <a:gd name="connsiteX6" fmla="*/ 2853943 w 2854520"/>
              <a:gd name="connsiteY6" fmla="*/ 1184828 h 6164592"/>
              <a:gd name="connsiteX7" fmla="*/ 2850180 w 2854520"/>
              <a:gd name="connsiteY7" fmla="*/ 1395330 h 6164592"/>
              <a:gd name="connsiteX8" fmla="*/ 2850180 w 2854520"/>
              <a:gd name="connsiteY8" fmla="*/ 5741852 h 6164592"/>
              <a:gd name="connsiteX9" fmla="*/ 2826801 w 2854520"/>
              <a:gd name="connsiteY9" fmla="*/ 5963732 h 6164592"/>
              <a:gd name="connsiteX10" fmla="*/ 2766015 w 2854520"/>
              <a:gd name="connsiteY10" fmla="*/ 6054820 h 6164592"/>
              <a:gd name="connsiteX11" fmla="*/ 2429356 w 2854520"/>
              <a:gd name="connsiteY11" fmla="*/ 6164592 h 6164592"/>
              <a:gd name="connsiteX12" fmla="*/ 362647 w 2854520"/>
              <a:gd name="connsiteY12" fmla="*/ 6162257 h 6164592"/>
              <a:gd name="connsiteX13" fmla="*/ 103139 w 2854520"/>
              <a:gd name="connsiteY13" fmla="*/ 6078176 h 6164592"/>
              <a:gd name="connsiteX14" fmla="*/ 7285 w 2854520"/>
              <a:gd name="connsiteY14" fmla="*/ 5828268 h 6164592"/>
              <a:gd name="connsiteX15" fmla="*/ 7285 w 2854520"/>
              <a:gd name="connsiteY15" fmla="*/ 3915425 h 6164592"/>
              <a:gd name="connsiteX16" fmla="*/ 7285 w 2854520"/>
              <a:gd name="connsiteY16" fmla="*/ 3214749 h 6164592"/>
              <a:gd name="connsiteX17" fmla="*/ 4947 w 2854520"/>
              <a:gd name="connsiteY17" fmla="*/ 687648 h 6164592"/>
              <a:gd name="connsiteX18" fmla="*/ 2609 w 2854520"/>
              <a:gd name="connsiteY18" fmla="*/ 398035 h 6164592"/>
              <a:gd name="connsiteX19" fmla="*/ 47029 w 2854520"/>
              <a:gd name="connsiteY19" fmla="*/ 152799 h 6164592"/>
              <a:gd name="connsiteX20" fmla="*/ 234062 w 2854520"/>
              <a:gd name="connsiteY20" fmla="*/ 22006 h 6164592"/>
              <a:gd name="connsiteX21" fmla="*/ 545003 w 2854520"/>
              <a:gd name="connsiteY21" fmla="*/ 7993 h 6164592"/>
              <a:gd name="connsiteX22" fmla="*/ 615141 w 2854520"/>
              <a:gd name="connsiteY22" fmla="*/ 85067 h 6164592"/>
              <a:gd name="connsiteX23" fmla="*/ 790484 w 2854520"/>
              <a:gd name="connsiteY23" fmla="*/ 250893 h 6164592"/>
              <a:gd name="connsiteX24" fmla="*/ 2022561 w 2854520"/>
              <a:gd name="connsiteY24" fmla="*/ 250893 h 6164592"/>
              <a:gd name="connsiteX25" fmla="*/ 2195566 w 2854520"/>
              <a:gd name="connsiteY25" fmla="*/ 178490 h 6164592"/>
              <a:gd name="connsiteX26" fmla="*/ 2230634 w 2854520"/>
              <a:gd name="connsiteY26" fmla="*/ 92074 h 6164592"/>
              <a:gd name="connsiteX27" fmla="*/ 2345192 w 2854520"/>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52799 h 6164592"/>
              <a:gd name="connsiteX20" fmla="*/ 234062 w 2860975"/>
              <a:gd name="connsiteY20" fmla="*/ 22006 h 6164592"/>
              <a:gd name="connsiteX21" fmla="*/ 545003 w 2860975"/>
              <a:gd name="connsiteY21" fmla="*/ 7993 h 6164592"/>
              <a:gd name="connsiteX22" fmla="*/ 615141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52799 h 6164592"/>
              <a:gd name="connsiteX20" fmla="*/ 234062 w 2860975"/>
              <a:gd name="connsiteY20" fmla="*/ 22006 h 6164592"/>
              <a:gd name="connsiteX21" fmla="*/ 545003 w 2860975"/>
              <a:gd name="connsiteY21" fmla="*/ 7993 h 6164592"/>
              <a:gd name="connsiteX22" fmla="*/ 615141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52799 h 6164592"/>
              <a:gd name="connsiteX20" fmla="*/ 234062 w 2860975"/>
              <a:gd name="connsiteY20" fmla="*/ 22006 h 6164592"/>
              <a:gd name="connsiteX21" fmla="*/ 545003 w 2860975"/>
              <a:gd name="connsiteY21" fmla="*/ 7993 h 6164592"/>
              <a:gd name="connsiteX22" fmla="*/ 641370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52799 h 6164592"/>
              <a:gd name="connsiteX20" fmla="*/ 234062 w 2860975"/>
              <a:gd name="connsiteY20" fmla="*/ 39492 h 6164592"/>
              <a:gd name="connsiteX21" fmla="*/ 545003 w 2860975"/>
              <a:gd name="connsiteY21" fmla="*/ 7993 h 6164592"/>
              <a:gd name="connsiteX22" fmla="*/ 641370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79028 h 6164592"/>
              <a:gd name="connsiteX20" fmla="*/ 234062 w 2860975"/>
              <a:gd name="connsiteY20" fmla="*/ 39492 h 6164592"/>
              <a:gd name="connsiteX21" fmla="*/ 545003 w 2860975"/>
              <a:gd name="connsiteY21" fmla="*/ 7993 h 6164592"/>
              <a:gd name="connsiteX22" fmla="*/ 641370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79028 h 6164592"/>
              <a:gd name="connsiteX20" fmla="*/ 234062 w 2860975"/>
              <a:gd name="connsiteY20" fmla="*/ 39492 h 6164592"/>
              <a:gd name="connsiteX21" fmla="*/ 545003 w 2860975"/>
              <a:gd name="connsiteY21" fmla="*/ 21107 h 6164592"/>
              <a:gd name="connsiteX22" fmla="*/ 641370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790484 w 2860975"/>
              <a:gd name="connsiteY23" fmla="*/ 242419 h 6156118"/>
              <a:gd name="connsiteX24" fmla="*/ 2022561 w 2860975"/>
              <a:gd name="connsiteY24" fmla="*/ 242419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790484 w 2860975"/>
              <a:gd name="connsiteY23" fmla="*/ 242419 h 6156118"/>
              <a:gd name="connsiteX24" fmla="*/ 2022561 w 2860975"/>
              <a:gd name="connsiteY24" fmla="*/ 242419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790484 w 2860975"/>
              <a:gd name="connsiteY23" fmla="*/ 242419 h 6156118"/>
              <a:gd name="connsiteX24" fmla="*/ 2022561 w 2860975"/>
              <a:gd name="connsiteY24" fmla="*/ 242419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790484 w 2860975"/>
              <a:gd name="connsiteY23" fmla="*/ 242419 h 6156118"/>
              <a:gd name="connsiteX24" fmla="*/ 2022561 w 2860975"/>
              <a:gd name="connsiteY24" fmla="*/ 242419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2561 w 2860975"/>
              <a:gd name="connsiteY24" fmla="*/ 242419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60776 w 2860975"/>
              <a:gd name="connsiteY25" fmla="*/ 163057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60776 w 2860975"/>
              <a:gd name="connsiteY25" fmla="*/ 163057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60776 w 2860975"/>
              <a:gd name="connsiteY25" fmla="*/ 163057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60776 w 2860975"/>
              <a:gd name="connsiteY25" fmla="*/ 163057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60776 w 2860975"/>
              <a:gd name="connsiteY25" fmla="*/ 163057 h 6156118"/>
              <a:gd name="connsiteX26" fmla="*/ 2205413 w 2860975"/>
              <a:gd name="connsiteY26" fmla="*/ 89905 h 6156118"/>
              <a:gd name="connsiteX27" fmla="*/ 2340821 w 2860975"/>
              <a:gd name="connsiteY27" fmla="*/ 5626 h 6156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860975" h="6156118">
                <a:moveTo>
                  <a:pt x="2340821" y="5626"/>
                </a:moveTo>
                <a:cubicBezTo>
                  <a:pt x="2394593" y="10297"/>
                  <a:pt x="2455073" y="-5153"/>
                  <a:pt x="2508845" y="1854"/>
                </a:cubicBezTo>
                <a:cubicBezTo>
                  <a:pt x="2560279" y="6525"/>
                  <a:pt x="2614051" y="11197"/>
                  <a:pt x="2663147" y="27546"/>
                </a:cubicBezTo>
                <a:cubicBezTo>
                  <a:pt x="2749650" y="55573"/>
                  <a:pt x="2805759" y="116298"/>
                  <a:pt x="2829139" y="202714"/>
                </a:cubicBezTo>
                <a:cubicBezTo>
                  <a:pt x="2861869" y="317158"/>
                  <a:pt x="2864207" y="422859"/>
                  <a:pt x="2858618" y="541973"/>
                </a:cubicBezTo>
                <a:cubicBezTo>
                  <a:pt x="2851299" y="627790"/>
                  <a:pt x="2852078" y="698666"/>
                  <a:pt x="2851299" y="804396"/>
                </a:cubicBezTo>
                <a:cubicBezTo>
                  <a:pt x="2850520" y="910126"/>
                  <a:pt x="2851605" y="1050232"/>
                  <a:pt x="2853943" y="1176354"/>
                </a:cubicBezTo>
                <a:cubicBezTo>
                  <a:pt x="2856281" y="1248757"/>
                  <a:pt x="2850807" y="627352"/>
                  <a:pt x="2850180" y="1386856"/>
                </a:cubicBezTo>
                <a:cubicBezTo>
                  <a:pt x="2849553" y="2146360"/>
                  <a:pt x="2850180" y="4284537"/>
                  <a:pt x="2850180" y="5733378"/>
                </a:cubicBezTo>
                <a:cubicBezTo>
                  <a:pt x="2850180" y="5808116"/>
                  <a:pt x="2840828" y="5882855"/>
                  <a:pt x="2826801" y="5955258"/>
                </a:cubicBezTo>
                <a:cubicBezTo>
                  <a:pt x="2819787" y="5987956"/>
                  <a:pt x="2791732" y="6020654"/>
                  <a:pt x="2766015" y="6046346"/>
                </a:cubicBezTo>
                <a:cubicBezTo>
                  <a:pt x="2674837" y="6142105"/>
                  <a:pt x="2555603" y="6156118"/>
                  <a:pt x="2429356" y="6156118"/>
                </a:cubicBezTo>
                <a:lnTo>
                  <a:pt x="362647" y="6153783"/>
                </a:lnTo>
                <a:cubicBezTo>
                  <a:pt x="269130" y="6153783"/>
                  <a:pt x="177952" y="6139769"/>
                  <a:pt x="103139" y="6069702"/>
                </a:cubicBezTo>
                <a:cubicBezTo>
                  <a:pt x="33002" y="6001970"/>
                  <a:pt x="7285" y="5913218"/>
                  <a:pt x="7285" y="5819794"/>
                </a:cubicBezTo>
                <a:cubicBezTo>
                  <a:pt x="4947" y="5182180"/>
                  <a:pt x="7285" y="4544565"/>
                  <a:pt x="7285" y="3906951"/>
                </a:cubicBezTo>
                <a:lnTo>
                  <a:pt x="7285" y="3206275"/>
                </a:lnTo>
                <a:cubicBezTo>
                  <a:pt x="7285" y="2363130"/>
                  <a:pt x="7285" y="1522319"/>
                  <a:pt x="4947" y="679174"/>
                </a:cubicBezTo>
                <a:cubicBezTo>
                  <a:pt x="4947" y="583415"/>
                  <a:pt x="-4405" y="485320"/>
                  <a:pt x="2609" y="389561"/>
                </a:cubicBezTo>
                <a:cubicBezTo>
                  <a:pt x="7285" y="307816"/>
                  <a:pt x="23650" y="249964"/>
                  <a:pt x="47029" y="170554"/>
                </a:cubicBezTo>
                <a:cubicBezTo>
                  <a:pt x="75084" y="84137"/>
                  <a:pt x="151066" y="57338"/>
                  <a:pt x="234062" y="31018"/>
                </a:cubicBezTo>
                <a:cubicBezTo>
                  <a:pt x="317058" y="4698"/>
                  <a:pt x="477118" y="5037"/>
                  <a:pt x="545003" y="12633"/>
                </a:cubicBezTo>
                <a:cubicBezTo>
                  <a:pt x="612888" y="20229"/>
                  <a:pt x="636694" y="29881"/>
                  <a:pt x="641370" y="76593"/>
                </a:cubicBezTo>
                <a:cubicBezTo>
                  <a:pt x="687972" y="205752"/>
                  <a:pt x="791992" y="193111"/>
                  <a:pt x="853104" y="193715"/>
                </a:cubicBezTo>
                <a:lnTo>
                  <a:pt x="2029518" y="193715"/>
                </a:lnTo>
                <a:cubicBezTo>
                  <a:pt x="2064606" y="188605"/>
                  <a:pt x="2108420" y="181980"/>
                  <a:pt x="2160776" y="163057"/>
                </a:cubicBezTo>
                <a:cubicBezTo>
                  <a:pt x="2179479" y="137366"/>
                  <a:pt x="2200737" y="120267"/>
                  <a:pt x="2205413" y="89905"/>
                </a:cubicBezTo>
                <a:cubicBezTo>
                  <a:pt x="2217103" y="22173"/>
                  <a:pt x="2251164" y="11733"/>
                  <a:pt x="2340821" y="5626"/>
                </a:cubicBezTo>
                <a:close/>
              </a:path>
            </a:pathLst>
          </a:custGeom>
          <a:blipFill>
            <a:blip r:embed="rId4"/>
            <a:stretch>
              <a:fillRect l="-121001" r="-138446" b="-5101"/>
            </a:stretch>
          </a:blipFill>
        </p:spPr>
        <p:txBody>
          <a:bodyPr wrap="square" anchor="ctr" anchorCtr="1">
            <a:noAutofit/>
          </a:bodyPr>
          <a:lstStyle>
            <a:lvl1pPr marL="0" indent="0">
              <a:buNone/>
              <a:defRPr/>
            </a:lvl1pPr>
          </a:lstStyle>
          <a:p>
            <a:endParaRPr lang="en-US"/>
          </a:p>
        </p:txBody>
      </p:sp>
      <p:sp>
        <p:nvSpPr>
          <p:cNvPr id="60" name="Picture Placeholder 3">
            <a:extLst>
              <a:ext uri="{FF2B5EF4-FFF2-40B4-BE49-F238E27FC236}">
                <a16:creationId xmlns:a16="http://schemas.microsoft.com/office/drawing/2014/main" id="{3088E1CA-04A9-F449-885C-D9FD2D6EBDDA}"/>
              </a:ext>
            </a:extLst>
          </p:cNvPr>
          <p:cNvSpPr>
            <a:spLocks noGrp="1" noChangeAspect="1"/>
          </p:cNvSpPr>
          <p:nvPr>
            <p:ph type="pic" sz="quarter" idx="12"/>
          </p:nvPr>
        </p:nvSpPr>
        <p:spPr>
          <a:xfrm>
            <a:off x="8393206" y="915727"/>
            <a:ext cx="1440599" cy="3099816"/>
          </a:xfrm>
          <a:custGeom>
            <a:avLst/>
            <a:gdLst>
              <a:gd name="connsiteX0" fmla="*/ 2345192 w 2857253"/>
              <a:gd name="connsiteY0" fmla="*/ 986 h 6164592"/>
              <a:gd name="connsiteX1" fmla="*/ 2508845 w 2857253"/>
              <a:gd name="connsiteY1" fmla="*/ 10328 h 6164592"/>
              <a:gd name="connsiteX2" fmla="*/ 2663147 w 2857253"/>
              <a:gd name="connsiteY2" fmla="*/ 36020 h 6164592"/>
              <a:gd name="connsiteX3" fmla="*/ 2829139 w 2857253"/>
              <a:gd name="connsiteY3" fmla="*/ 211188 h 6164592"/>
              <a:gd name="connsiteX4" fmla="*/ 2845504 w 2857253"/>
              <a:gd name="connsiteY4" fmla="*/ 559190 h 6164592"/>
              <a:gd name="connsiteX5" fmla="*/ 2833814 w 2857253"/>
              <a:gd name="connsiteY5" fmla="*/ 799756 h 6164592"/>
              <a:gd name="connsiteX6" fmla="*/ 2840828 w 2857253"/>
              <a:gd name="connsiteY6" fmla="*/ 1180456 h 6164592"/>
              <a:gd name="connsiteX7" fmla="*/ 2850180 w 2857253"/>
              <a:gd name="connsiteY7" fmla="*/ 1395330 h 6164592"/>
              <a:gd name="connsiteX8" fmla="*/ 2850180 w 2857253"/>
              <a:gd name="connsiteY8" fmla="*/ 5741852 h 6164592"/>
              <a:gd name="connsiteX9" fmla="*/ 2826801 w 2857253"/>
              <a:gd name="connsiteY9" fmla="*/ 5963732 h 6164592"/>
              <a:gd name="connsiteX10" fmla="*/ 2766015 w 2857253"/>
              <a:gd name="connsiteY10" fmla="*/ 6054820 h 6164592"/>
              <a:gd name="connsiteX11" fmla="*/ 2429356 w 2857253"/>
              <a:gd name="connsiteY11" fmla="*/ 6164592 h 6164592"/>
              <a:gd name="connsiteX12" fmla="*/ 362647 w 2857253"/>
              <a:gd name="connsiteY12" fmla="*/ 6162257 h 6164592"/>
              <a:gd name="connsiteX13" fmla="*/ 103139 w 2857253"/>
              <a:gd name="connsiteY13" fmla="*/ 6078176 h 6164592"/>
              <a:gd name="connsiteX14" fmla="*/ 7285 w 2857253"/>
              <a:gd name="connsiteY14" fmla="*/ 5828268 h 6164592"/>
              <a:gd name="connsiteX15" fmla="*/ 7285 w 2857253"/>
              <a:gd name="connsiteY15" fmla="*/ 3915425 h 6164592"/>
              <a:gd name="connsiteX16" fmla="*/ 7285 w 2857253"/>
              <a:gd name="connsiteY16" fmla="*/ 3214749 h 6164592"/>
              <a:gd name="connsiteX17" fmla="*/ 4947 w 2857253"/>
              <a:gd name="connsiteY17" fmla="*/ 687648 h 6164592"/>
              <a:gd name="connsiteX18" fmla="*/ 2609 w 2857253"/>
              <a:gd name="connsiteY18" fmla="*/ 398035 h 6164592"/>
              <a:gd name="connsiteX19" fmla="*/ 47029 w 2857253"/>
              <a:gd name="connsiteY19" fmla="*/ 152799 h 6164592"/>
              <a:gd name="connsiteX20" fmla="*/ 234062 w 2857253"/>
              <a:gd name="connsiteY20" fmla="*/ 22006 h 6164592"/>
              <a:gd name="connsiteX21" fmla="*/ 545003 w 2857253"/>
              <a:gd name="connsiteY21" fmla="*/ 7993 h 6164592"/>
              <a:gd name="connsiteX22" fmla="*/ 615141 w 2857253"/>
              <a:gd name="connsiteY22" fmla="*/ 85067 h 6164592"/>
              <a:gd name="connsiteX23" fmla="*/ 790484 w 2857253"/>
              <a:gd name="connsiteY23" fmla="*/ 250893 h 6164592"/>
              <a:gd name="connsiteX24" fmla="*/ 2022561 w 2857253"/>
              <a:gd name="connsiteY24" fmla="*/ 250893 h 6164592"/>
              <a:gd name="connsiteX25" fmla="*/ 2195566 w 2857253"/>
              <a:gd name="connsiteY25" fmla="*/ 178490 h 6164592"/>
              <a:gd name="connsiteX26" fmla="*/ 2230634 w 2857253"/>
              <a:gd name="connsiteY26" fmla="*/ 92074 h 6164592"/>
              <a:gd name="connsiteX27" fmla="*/ 2345192 w 2857253"/>
              <a:gd name="connsiteY27" fmla="*/ 986 h 6164592"/>
              <a:gd name="connsiteX0" fmla="*/ 2345192 w 2857253"/>
              <a:gd name="connsiteY0" fmla="*/ 986 h 6164592"/>
              <a:gd name="connsiteX1" fmla="*/ 2508845 w 2857253"/>
              <a:gd name="connsiteY1" fmla="*/ 10328 h 6164592"/>
              <a:gd name="connsiteX2" fmla="*/ 2663147 w 2857253"/>
              <a:gd name="connsiteY2" fmla="*/ 36020 h 6164592"/>
              <a:gd name="connsiteX3" fmla="*/ 2829139 w 2857253"/>
              <a:gd name="connsiteY3" fmla="*/ 211188 h 6164592"/>
              <a:gd name="connsiteX4" fmla="*/ 2845504 w 2857253"/>
              <a:gd name="connsiteY4" fmla="*/ 554819 h 6164592"/>
              <a:gd name="connsiteX5" fmla="*/ 2833814 w 2857253"/>
              <a:gd name="connsiteY5" fmla="*/ 799756 h 6164592"/>
              <a:gd name="connsiteX6" fmla="*/ 2840828 w 2857253"/>
              <a:gd name="connsiteY6" fmla="*/ 1180456 h 6164592"/>
              <a:gd name="connsiteX7" fmla="*/ 2850180 w 2857253"/>
              <a:gd name="connsiteY7" fmla="*/ 1395330 h 6164592"/>
              <a:gd name="connsiteX8" fmla="*/ 2850180 w 2857253"/>
              <a:gd name="connsiteY8" fmla="*/ 5741852 h 6164592"/>
              <a:gd name="connsiteX9" fmla="*/ 2826801 w 2857253"/>
              <a:gd name="connsiteY9" fmla="*/ 5963732 h 6164592"/>
              <a:gd name="connsiteX10" fmla="*/ 2766015 w 2857253"/>
              <a:gd name="connsiteY10" fmla="*/ 6054820 h 6164592"/>
              <a:gd name="connsiteX11" fmla="*/ 2429356 w 2857253"/>
              <a:gd name="connsiteY11" fmla="*/ 6164592 h 6164592"/>
              <a:gd name="connsiteX12" fmla="*/ 362647 w 2857253"/>
              <a:gd name="connsiteY12" fmla="*/ 6162257 h 6164592"/>
              <a:gd name="connsiteX13" fmla="*/ 103139 w 2857253"/>
              <a:gd name="connsiteY13" fmla="*/ 6078176 h 6164592"/>
              <a:gd name="connsiteX14" fmla="*/ 7285 w 2857253"/>
              <a:gd name="connsiteY14" fmla="*/ 5828268 h 6164592"/>
              <a:gd name="connsiteX15" fmla="*/ 7285 w 2857253"/>
              <a:gd name="connsiteY15" fmla="*/ 3915425 h 6164592"/>
              <a:gd name="connsiteX16" fmla="*/ 7285 w 2857253"/>
              <a:gd name="connsiteY16" fmla="*/ 3214749 h 6164592"/>
              <a:gd name="connsiteX17" fmla="*/ 4947 w 2857253"/>
              <a:gd name="connsiteY17" fmla="*/ 687648 h 6164592"/>
              <a:gd name="connsiteX18" fmla="*/ 2609 w 2857253"/>
              <a:gd name="connsiteY18" fmla="*/ 398035 h 6164592"/>
              <a:gd name="connsiteX19" fmla="*/ 47029 w 2857253"/>
              <a:gd name="connsiteY19" fmla="*/ 152799 h 6164592"/>
              <a:gd name="connsiteX20" fmla="*/ 234062 w 2857253"/>
              <a:gd name="connsiteY20" fmla="*/ 22006 h 6164592"/>
              <a:gd name="connsiteX21" fmla="*/ 545003 w 2857253"/>
              <a:gd name="connsiteY21" fmla="*/ 7993 h 6164592"/>
              <a:gd name="connsiteX22" fmla="*/ 615141 w 2857253"/>
              <a:gd name="connsiteY22" fmla="*/ 85067 h 6164592"/>
              <a:gd name="connsiteX23" fmla="*/ 790484 w 2857253"/>
              <a:gd name="connsiteY23" fmla="*/ 250893 h 6164592"/>
              <a:gd name="connsiteX24" fmla="*/ 2022561 w 2857253"/>
              <a:gd name="connsiteY24" fmla="*/ 250893 h 6164592"/>
              <a:gd name="connsiteX25" fmla="*/ 2195566 w 2857253"/>
              <a:gd name="connsiteY25" fmla="*/ 178490 h 6164592"/>
              <a:gd name="connsiteX26" fmla="*/ 2230634 w 2857253"/>
              <a:gd name="connsiteY26" fmla="*/ 92074 h 6164592"/>
              <a:gd name="connsiteX27" fmla="*/ 2345192 w 2857253"/>
              <a:gd name="connsiteY27" fmla="*/ 986 h 6164592"/>
              <a:gd name="connsiteX0" fmla="*/ 2345192 w 2857253"/>
              <a:gd name="connsiteY0" fmla="*/ 986 h 6164592"/>
              <a:gd name="connsiteX1" fmla="*/ 2508845 w 2857253"/>
              <a:gd name="connsiteY1" fmla="*/ 10328 h 6164592"/>
              <a:gd name="connsiteX2" fmla="*/ 2663147 w 2857253"/>
              <a:gd name="connsiteY2" fmla="*/ 36020 h 6164592"/>
              <a:gd name="connsiteX3" fmla="*/ 2829139 w 2857253"/>
              <a:gd name="connsiteY3" fmla="*/ 211188 h 6164592"/>
              <a:gd name="connsiteX4" fmla="*/ 2845504 w 2857253"/>
              <a:gd name="connsiteY4" fmla="*/ 554819 h 6164592"/>
              <a:gd name="connsiteX5" fmla="*/ 2851299 w 2857253"/>
              <a:gd name="connsiteY5" fmla="*/ 812870 h 6164592"/>
              <a:gd name="connsiteX6" fmla="*/ 2840828 w 2857253"/>
              <a:gd name="connsiteY6" fmla="*/ 1180456 h 6164592"/>
              <a:gd name="connsiteX7" fmla="*/ 2850180 w 2857253"/>
              <a:gd name="connsiteY7" fmla="*/ 1395330 h 6164592"/>
              <a:gd name="connsiteX8" fmla="*/ 2850180 w 2857253"/>
              <a:gd name="connsiteY8" fmla="*/ 5741852 h 6164592"/>
              <a:gd name="connsiteX9" fmla="*/ 2826801 w 2857253"/>
              <a:gd name="connsiteY9" fmla="*/ 5963732 h 6164592"/>
              <a:gd name="connsiteX10" fmla="*/ 2766015 w 2857253"/>
              <a:gd name="connsiteY10" fmla="*/ 6054820 h 6164592"/>
              <a:gd name="connsiteX11" fmla="*/ 2429356 w 2857253"/>
              <a:gd name="connsiteY11" fmla="*/ 6164592 h 6164592"/>
              <a:gd name="connsiteX12" fmla="*/ 362647 w 2857253"/>
              <a:gd name="connsiteY12" fmla="*/ 6162257 h 6164592"/>
              <a:gd name="connsiteX13" fmla="*/ 103139 w 2857253"/>
              <a:gd name="connsiteY13" fmla="*/ 6078176 h 6164592"/>
              <a:gd name="connsiteX14" fmla="*/ 7285 w 2857253"/>
              <a:gd name="connsiteY14" fmla="*/ 5828268 h 6164592"/>
              <a:gd name="connsiteX15" fmla="*/ 7285 w 2857253"/>
              <a:gd name="connsiteY15" fmla="*/ 3915425 h 6164592"/>
              <a:gd name="connsiteX16" fmla="*/ 7285 w 2857253"/>
              <a:gd name="connsiteY16" fmla="*/ 3214749 h 6164592"/>
              <a:gd name="connsiteX17" fmla="*/ 4947 w 2857253"/>
              <a:gd name="connsiteY17" fmla="*/ 687648 h 6164592"/>
              <a:gd name="connsiteX18" fmla="*/ 2609 w 2857253"/>
              <a:gd name="connsiteY18" fmla="*/ 398035 h 6164592"/>
              <a:gd name="connsiteX19" fmla="*/ 47029 w 2857253"/>
              <a:gd name="connsiteY19" fmla="*/ 152799 h 6164592"/>
              <a:gd name="connsiteX20" fmla="*/ 234062 w 2857253"/>
              <a:gd name="connsiteY20" fmla="*/ 22006 h 6164592"/>
              <a:gd name="connsiteX21" fmla="*/ 545003 w 2857253"/>
              <a:gd name="connsiteY21" fmla="*/ 7993 h 6164592"/>
              <a:gd name="connsiteX22" fmla="*/ 615141 w 2857253"/>
              <a:gd name="connsiteY22" fmla="*/ 85067 h 6164592"/>
              <a:gd name="connsiteX23" fmla="*/ 790484 w 2857253"/>
              <a:gd name="connsiteY23" fmla="*/ 250893 h 6164592"/>
              <a:gd name="connsiteX24" fmla="*/ 2022561 w 2857253"/>
              <a:gd name="connsiteY24" fmla="*/ 250893 h 6164592"/>
              <a:gd name="connsiteX25" fmla="*/ 2195566 w 2857253"/>
              <a:gd name="connsiteY25" fmla="*/ 178490 h 6164592"/>
              <a:gd name="connsiteX26" fmla="*/ 2230634 w 2857253"/>
              <a:gd name="connsiteY26" fmla="*/ 92074 h 6164592"/>
              <a:gd name="connsiteX27" fmla="*/ 2345192 w 2857253"/>
              <a:gd name="connsiteY27" fmla="*/ 986 h 6164592"/>
              <a:gd name="connsiteX0" fmla="*/ 2345192 w 2857253"/>
              <a:gd name="connsiteY0" fmla="*/ 986 h 6164592"/>
              <a:gd name="connsiteX1" fmla="*/ 2508845 w 2857253"/>
              <a:gd name="connsiteY1" fmla="*/ 10328 h 6164592"/>
              <a:gd name="connsiteX2" fmla="*/ 2663147 w 2857253"/>
              <a:gd name="connsiteY2" fmla="*/ 36020 h 6164592"/>
              <a:gd name="connsiteX3" fmla="*/ 2829139 w 2857253"/>
              <a:gd name="connsiteY3" fmla="*/ 211188 h 6164592"/>
              <a:gd name="connsiteX4" fmla="*/ 2845504 w 2857253"/>
              <a:gd name="connsiteY4" fmla="*/ 554819 h 6164592"/>
              <a:gd name="connsiteX5" fmla="*/ 2851299 w 2857253"/>
              <a:gd name="connsiteY5" fmla="*/ 812870 h 6164592"/>
              <a:gd name="connsiteX6" fmla="*/ 2853943 w 2857253"/>
              <a:gd name="connsiteY6" fmla="*/ 1184828 h 6164592"/>
              <a:gd name="connsiteX7" fmla="*/ 2850180 w 2857253"/>
              <a:gd name="connsiteY7" fmla="*/ 1395330 h 6164592"/>
              <a:gd name="connsiteX8" fmla="*/ 2850180 w 2857253"/>
              <a:gd name="connsiteY8" fmla="*/ 5741852 h 6164592"/>
              <a:gd name="connsiteX9" fmla="*/ 2826801 w 2857253"/>
              <a:gd name="connsiteY9" fmla="*/ 5963732 h 6164592"/>
              <a:gd name="connsiteX10" fmla="*/ 2766015 w 2857253"/>
              <a:gd name="connsiteY10" fmla="*/ 6054820 h 6164592"/>
              <a:gd name="connsiteX11" fmla="*/ 2429356 w 2857253"/>
              <a:gd name="connsiteY11" fmla="*/ 6164592 h 6164592"/>
              <a:gd name="connsiteX12" fmla="*/ 362647 w 2857253"/>
              <a:gd name="connsiteY12" fmla="*/ 6162257 h 6164592"/>
              <a:gd name="connsiteX13" fmla="*/ 103139 w 2857253"/>
              <a:gd name="connsiteY13" fmla="*/ 6078176 h 6164592"/>
              <a:gd name="connsiteX14" fmla="*/ 7285 w 2857253"/>
              <a:gd name="connsiteY14" fmla="*/ 5828268 h 6164592"/>
              <a:gd name="connsiteX15" fmla="*/ 7285 w 2857253"/>
              <a:gd name="connsiteY15" fmla="*/ 3915425 h 6164592"/>
              <a:gd name="connsiteX16" fmla="*/ 7285 w 2857253"/>
              <a:gd name="connsiteY16" fmla="*/ 3214749 h 6164592"/>
              <a:gd name="connsiteX17" fmla="*/ 4947 w 2857253"/>
              <a:gd name="connsiteY17" fmla="*/ 687648 h 6164592"/>
              <a:gd name="connsiteX18" fmla="*/ 2609 w 2857253"/>
              <a:gd name="connsiteY18" fmla="*/ 398035 h 6164592"/>
              <a:gd name="connsiteX19" fmla="*/ 47029 w 2857253"/>
              <a:gd name="connsiteY19" fmla="*/ 152799 h 6164592"/>
              <a:gd name="connsiteX20" fmla="*/ 234062 w 2857253"/>
              <a:gd name="connsiteY20" fmla="*/ 22006 h 6164592"/>
              <a:gd name="connsiteX21" fmla="*/ 545003 w 2857253"/>
              <a:gd name="connsiteY21" fmla="*/ 7993 h 6164592"/>
              <a:gd name="connsiteX22" fmla="*/ 615141 w 2857253"/>
              <a:gd name="connsiteY22" fmla="*/ 85067 h 6164592"/>
              <a:gd name="connsiteX23" fmla="*/ 790484 w 2857253"/>
              <a:gd name="connsiteY23" fmla="*/ 250893 h 6164592"/>
              <a:gd name="connsiteX24" fmla="*/ 2022561 w 2857253"/>
              <a:gd name="connsiteY24" fmla="*/ 250893 h 6164592"/>
              <a:gd name="connsiteX25" fmla="*/ 2195566 w 2857253"/>
              <a:gd name="connsiteY25" fmla="*/ 178490 h 6164592"/>
              <a:gd name="connsiteX26" fmla="*/ 2230634 w 2857253"/>
              <a:gd name="connsiteY26" fmla="*/ 92074 h 6164592"/>
              <a:gd name="connsiteX27" fmla="*/ 2345192 w 2857253"/>
              <a:gd name="connsiteY27" fmla="*/ 986 h 6164592"/>
              <a:gd name="connsiteX0" fmla="*/ 2345192 w 2860168"/>
              <a:gd name="connsiteY0" fmla="*/ 986 h 6164592"/>
              <a:gd name="connsiteX1" fmla="*/ 2508845 w 2860168"/>
              <a:gd name="connsiteY1" fmla="*/ 10328 h 6164592"/>
              <a:gd name="connsiteX2" fmla="*/ 2663147 w 2860168"/>
              <a:gd name="connsiteY2" fmla="*/ 36020 h 6164592"/>
              <a:gd name="connsiteX3" fmla="*/ 2829139 w 2860168"/>
              <a:gd name="connsiteY3" fmla="*/ 211188 h 6164592"/>
              <a:gd name="connsiteX4" fmla="*/ 2849875 w 2860168"/>
              <a:gd name="connsiteY4" fmla="*/ 554819 h 6164592"/>
              <a:gd name="connsiteX5" fmla="*/ 2851299 w 2860168"/>
              <a:gd name="connsiteY5" fmla="*/ 812870 h 6164592"/>
              <a:gd name="connsiteX6" fmla="*/ 2853943 w 2860168"/>
              <a:gd name="connsiteY6" fmla="*/ 1184828 h 6164592"/>
              <a:gd name="connsiteX7" fmla="*/ 2850180 w 2860168"/>
              <a:gd name="connsiteY7" fmla="*/ 1395330 h 6164592"/>
              <a:gd name="connsiteX8" fmla="*/ 2850180 w 2860168"/>
              <a:gd name="connsiteY8" fmla="*/ 5741852 h 6164592"/>
              <a:gd name="connsiteX9" fmla="*/ 2826801 w 2860168"/>
              <a:gd name="connsiteY9" fmla="*/ 5963732 h 6164592"/>
              <a:gd name="connsiteX10" fmla="*/ 2766015 w 2860168"/>
              <a:gd name="connsiteY10" fmla="*/ 6054820 h 6164592"/>
              <a:gd name="connsiteX11" fmla="*/ 2429356 w 2860168"/>
              <a:gd name="connsiteY11" fmla="*/ 6164592 h 6164592"/>
              <a:gd name="connsiteX12" fmla="*/ 362647 w 2860168"/>
              <a:gd name="connsiteY12" fmla="*/ 6162257 h 6164592"/>
              <a:gd name="connsiteX13" fmla="*/ 103139 w 2860168"/>
              <a:gd name="connsiteY13" fmla="*/ 6078176 h 6164592"/>
              <a:gd name="connsiteX14" fmla="*/ 7285 w 2860168"/>
              <a:gd name="connsiteY14" fmla="*/ 5828268 h 6164592"/>
              <a:gd name="connsiteX15" fmla="*/ 7285 w 2860168"/>
              <a:gd name="connsiteY15" fmla="*/ 3915425 h 6164592"/>
              <a:gd name="connsiteX16" fmla="*/ 7285 w 2860168"/>
              <a:gd name="connsiteY16" fmla="*/ 3214749 h 6164592"/>
              <a:gd name="connsiteX17" fmla="*/ 4947 w 2860168"/>
              <a:gd name="connsiteY17" fmla="*/ 687648 h 6164592"/>
              <a:gd name="connsiteX18" fmla="*/ 2609 w 2860168"/>
              <a:gd name="connsiteY18" fmla="*/ 398035 h 6164592"/>
              <a:gd name="connsiteX19" fmla="*/ 47029 w 2860168"/>
              <a:gd name="connsiteY19" fmla="*/ 152799 h 6164592"/>
              <a:gd name="connsiteX20" fmla="*/ 234062 w 2860168"/>
              <a:gd name="connsiteY20" fmla="*/ 22006 h 6164592"/>
              <a:gd name="connsiteX21" fmla="*/ 545003 w 2860168"/>
              <a:gd name="connsiteY21" fmla="*/ 7993 h 6164592"/>
              <a:gd name="connsiteX22" fmla="*/ 615141 w 2860168"/>
              <a:gd name="connsiteY22" fmla="*/ 85067 h 6164592"/>
              <a:gd name="connsiteX23" fmla="*/ 790484 w 2860168"/>
              <a:gd name="connsiteY23" fmla="*/ 250893 h 6164592"/>
              <a:gd name="connsiteX24" fmla="*/ 2022561 w 2860168"/>
              <a:gd name="connsiteY24" fmla="*/ 250893 h 6164592"/>
              <a:gd name="connsiteX25" fmla="*/ 2195566 w 2860168"/>
              <a:gd name="connsiteY25" fmla="*/ 178490 h 6164592"/>
              <a:gd name="connsiteX26" fmla="*/ 2230634 w 2860168"/>
              <a:gd name="connsiteY26" fmla="*/ 92074 h 6164592"/>
              <a:gd name="connsiteX27" fmla="*/ 2345192 w 2860168"/>
              <a:gd name="connsiteY27" fmla="*/ 986 h 6164592"/>
              <a:gd name="connsiteX0" fmla="*/ 2345192 w 2854520"/>
              <a:gd name="connsiteY0" fmla="*/ 986 h 6164592"/>
              <a:gd name="connsiteX1" fmla="*/ 2508845 w 2854520"/>
              <a:gd name="connsiteY1" fmla="*/ 10328 h 6164592"/>
              <a:gd name="connsiteX2" fmla="*/ 2663147 w 2854520"/>
              <a:gd name="connsiteY2" fmla="*/ 36020 h 6164592"/>
              <a:gd name="connsiteX3" fmla="*/ 2829139 w 2854520"/>
              <a:gd name="connsiteY3" fmla="*/ 211188 h 6164592"/>
              <a:gd name="connsiteX4" fmla="*/ 2849875 w 2854520"/>
              <a:gd name="connsiteY4" fmla="*/ 554819 h 6164592"/>
              <a:gd name="connsiteX5" fmla="*/ 2851299 w 2854520"/>
              <a:gd name="connsiteY5" fmla="*/ 812870 h 6164592"/>
              <a:gd name="connsiteX6" fmla="*/ 2853943 w 2854520"/>
              <a:gd name="connsiteY6" fmla="*/ 1184828 h 6164592"/>
              <a:gd name="connsiteX7" fmla="*/ 2850180 w 2854520"/>
              <a:gd name="connsiteY7" fmla="*/ 1395330 h 6164592"/>
              <a:gd name="connsiteX8" fmla="*/ 2850180 w 2854520"/>
              <a:gd name="connsiteY8" fmla="*/ 5741852 h 6164592"/>
              <a:gd name="connsiteX9" fmla="*/ 2826801 w 2854520"/>
              <a:gd name="connsiteY9" fmla="*/ 5963732 h 6164592"/>
              <a:gd name="connsiteX10" fmla="*/ 2766015 w 2854520"/>
              <a:gd name="connsiteY10" fmla="*/ 6054820 h 6164592"/>
              <a:gd name="connsiteX11" fmla="*/ 2429356 w 2854520"/>
              <a:gd name="connsiteY11" fmla="*/ 6164592 h 6164592"/>
              <a:gd name="connsiteX12" fmla="*/ 362647 w 2854520"/>
              <a:gd name="connsiteY12" fmla="*/ 6162257 h 6164592"/>
              <a:gd name="connsiteX13" fmla="*/ 103139 w 2854520"/>
              <a:gd name="connsiteY13" fmla="*/ 6078176 h 6164592"/>
              <a:gd name="connsiteX14" fmla="*/ 7285 w 2854520"/>
              <a:gd name="connsiteY14" fmla="*/ 5828268 h 6164592"/>
              <a:gd name="connsiteX15" fmla="*/ 7285 w 2854520"/>
              <a:gd name="connsiteY15" fmla="*/ 3915425 h 6164592"/>
              <a:gd name="connsiteX16" fmla="*/ 7285 w 2854520"/>
              <a:gd name="connsiteY16" fmla="*/ 3214749 h 6164592"/>
              <a:gd name="connsiteX17" fmla="*/ 4947 w 2854520"/>
              <a:gd name="connsiteY17" fmla="*/ 687648 h 6164592"/>
              <a:gd name="connsiteX18" fmla="*/ 2609 w 2854520"/>
              <a:gd name="connsiteY18" fmla="*/ 398035 h 6164592"/>
              <a:gd name="connsiteX19" fmla="*/ 47029 w 2854520"/>
              <a:gd name="connsiteY19" fmla="*/ 152799 h 6164592"/>
              <a:gd name="connsiteX20" fmla="*/ 234062 w 2854520"/>
              <a:gd name="connsiteY20" fmla="*/ 22006 h 6164592"/>
              <a:gd name="connsiteX21" fmla="*/ 545003 w 2854520"/>
              <a:gd name="connsiteY21" fmla="*/ 7993 h 6164592"/>
              <a:gd name="connsiteX22" fmla="*/ 615141 w 2854520"/>
              <a:gd name="connsiteY22" fmla="*/ 85067 h 6164592"/>
              <a:gd name="connsiteX23" fmla="*/ 790484 w 2854520"/>
              <a:gd name="connsiteY23" fmla="*/ 250893 h 6164592"/>
              <a:gd name="connsiteX24" fmla="*/ 2022561 w 2854520"/>
              <a:gd name="connsiteY24" fmla="*/ 250893 h 6164592"/>
              <a:gd name="connsiteX25" fmla="*/ 2195566 w 2854520"/>
              <a:gd name="connsiteY25" fmla="*/ 178490 h 6164592"/>
              <a:gd name="connsiteX26" fmla="*/ 2230634 w 2854520"/>
              <a:gd name="connsiteY26" fmla="*/ 92074 h 6164592"/>
              <a:gd name="connsiteX27" fmla="*/ 2345192 w 2854520"/>
              <a:gd name="connsiteY27" fmla="*/ 986 h 6164592"/>
              <a:gd name="connsiteX0" fmla="*/ 2345192 w 2854520"/>
              <a:gd name="connsiteY0" fmla="*/ 986 h 6164592"/>
              <a:gd name="connsiteX1" fmla="*/ 2508845 w 2854520"/>
              <a:gd name="connsiteY1" fmla="*/ 10328 h 6164592"/>
              <a:gd name="connsiteX2" fmla="*/ 2663147 w 2854520"/>
              <a:gd name="connsiteY2" fmla="*/ 36020 h 6164592"/>
              <a:gd name="connsiteX3" fmla="*/ 2829139 w 2854520"/>
              <a:gd name="connsiteY3" fmla="*/ 211188 h 6164592"/>
              <a:gd name="connsiteX4" fmla="*/ 2849875 w 2854520"/>
              <a:gd name="connsiteY4" fmla="*/ 554819 h 6164592"/>
              <a:gd name="connsiteX5" fmla="*/ 2851299 w 2854520"/>
              <a:gd name="connsiteY5" fmla="*/ 812870 h 6164592"/>
              <a:gd name="connsiteX6" fmla="*/ 2853943 w 2854520"/>
              <a:gd name="connsiteY6" fmla="*/ 1184828 h 6164592"/>
              <a:gd name="connsiteX7" fmla="*/ 2850180 w 2854520"/>
              <a:gd name="connsiteY7" fmla="*/ 1395330 h 6164592"/>
              <a:gd name="connsiteX8" fmla="*/ 2850180 w 2854520"/>
              <a:gd name="connsiteY8" fmla="*/ 5741852 h 6164592"/>
              <a:gd name="connsiteX9" fmla="*/ 2826801 w 2854520"/>
              <a:gd name="connsiteY9" fmla="*/ 5963732 h 6164592"/>
              <a:gd name="connsiteX10" fmla="*/ 2766015 w 2854520"/>
              <a:gd name="connsiteY10" fmla="*/ 6054820 h 6164592"/>
              <a:gd name="connsiteX11" fmla="*/ 2429356 w 2854520"/>
              <a:gd name="connsiteY11" fmla="*/ 6164592 h 6164592"/>
              <a:gd name="connsiteX12" fmla="*/ 362647 w 2854520"/>
              <a:gd name="connsiteY12" fmla="*/ 6162257 h 6164592"/>
              <a:gd name="connsiteX13" fmla="*/ 103139 w 2854520"/>
              <a:gd name="connsiteY13" fmla="*/ 6078176 h 6164592"/>
              <a:gd name="connsiteX14" fmla="*/ 7285 w 2854520"/>
              <a:gd name="connsiteY14" fmla="*/ 5828268 h 6164592"/>
              <a:gd name="connsiteX15" fmla="*/ 7285 w 2854520"/>
              <a:gd name="connsiteY15" fmla="*/ 3915425 h 6164592"/>
              <a:gd name="connsiteX16" fmla="*/ 7285 w 2854520"/>
              <a:gd name="connsiteY16" fmla="*/ 3214749 h 6164592"/>
              <a:gd name="connsiteX17" fmla="*/ 4947 w 2854520"/>
              <a:gd name="connsiteY17" fmla="*/ 687648 h 6164592"/>
              <a:gd name="connsiteX18" fmla="*/ 2609 w 2854520"/>
              <a:gd name="connsiteY18" fmla="*/ 398035 h 6164592"/>
              <a:gd name="connsiteX19" fmla="*/ 47029 w 2854520"/>
              <a:gd name="connsiteY19" fmla="*/ 152799 h 6164592"/>
              <a:gd name="connsiteX20" fmla="*/ 234062 w 2854520"/>
              <a:gd name="connsiteY20" fmla="*/ 22006 h 6164592"/>
              <a:gd name="connsiteX21" fmla="*/ 545003 w 2854520"/>
              <a:gd name="connsiteY21" fmla="*/ 7993 h 6164592"/>
              <a:gd name="connsiteX22" fmla="*/ 615141 w 2854520"/>
              <a:gd name="connsiteY22" fmla="*/ 85067 h 6164592"/>
              <a:gd name="connsiteX23" fmla="*/ 790484 w 2854520"/>
              <a:gd name="connsiteY23" fmla="*/ 250893 h 6164592"/>
              <a:gd name="connsiteX24" fmla="*/ 2022561 w 2854520"/>
              <a:gd name="connsiteY24" fmla="*/ 250893 h 6164592"/>
              <a:gd name="connsiteX25" fmla="*/ 2195566 w 2854520"/>
              <a:gd name="connsiteY25" fmla="*/ 178490 h 6164592"/>
              <a:gd name="connsiteX26" fmla="*/ 2230634 w 2854520"/>
              <a:gd name="connsiteY26" fmla="*/ 92074 h 6164592"/>
              <a:gd name="connsiteX27" fmla="*/ 2345192 w 2854520"/>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52799 h 6164592"/>
              <a:gd name="connsiteX20" fmla="*/ 234062 w 2860975"/>
              <a:gd name="connsiteY20" fmla="*/ 22006 h 6164592"/>
              <a:gd name="connsiteX21" fmla="*/ 545003 w 2860975"/>
              <a:gd name="connsiteY21" fmla="*/ 7993 h 6164592"/>
              <a:gd name="connsiteX22" fmla="*/ 615141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52799 h 6164592"/>
              <a:gd name="connsiteX20" fmla="*/ 234062 w 2860975"/>
              <a:gd name="connsiteY20" fmla="*/ 22006 h 6164592"/>
              <a:gd name="connsiteX21" fmla="*/ 545003 w 2860975"/>
              <a:gd name="connsiteY21" fmla="*/ 7993 h 6164592"/>
              <a:gd name="connsiteX22" fmla="*/ 615141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52799 h 6164592"/>
              <a:gd name="connsiteX20" fmla="*/ 234062 w 2860975"/>
              <a:gd name="connsiteY20" fmla="*/ 22006 h 6164592"/>
              <a:gd name="connsiteX21" fmla="*/ 545003 w 2860975"/>
              <a:gd name="connsiteY21" fmla="*/ 7993 h 6164592"/>
              <a:gd name="connsiteX22" fmla="*/ 641370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52799 h 6164592"/>
              <a:gd name="connsiteX20" fmla="*/ 234062 w 2860975"/>
              <a:gd name="connsiteY20" fmla="*/ 39492 h 6164592"/>
              <a:gd name="connsiteX21" fmla="*/ 545003 w 2860975"/>
              <a:gd name="connsiteY21" fmla="*/ 7993 h 6164592"/>
              <a:gd name="connsiteX22" fmla="*/ 641370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79028 h 6164592"/>
              <a:gd name="connsiteX20" fmla="*/ 234062 w 2860975"/>
              <a:gd name="connsiteY20" fmla="*/ 39492 h 6164592"/>
              <a:gd name="connsiteX21" fmla="*/ 545003 w 2860975"/>
              <a:gd name="connsiteY21" fmla="*/ 7993 h 6164592"/>
              <a:gd name="connsiteX22" fmla="*/ 641370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79028 h 6164592"/>
              <a:gd name="connsiteX20" fmla="*/ 234062 w 2860975"/>
              <a:gd name="connsiteY20" fmla="*/ 39492 h 6164592"/>
              <a:gd name="connsiteX21" fmla="*/ 545003 w 2860975"/>
              <a:gd name="connsiteY21" fmla="*/ 21107 h 6164592"/>
              <a:gd name="connsiteX22" fmla="*/ 641370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790484 w 2860975"/>
              <a:gd name="connsiteY23" fmla="*/ 242419 h 6156118"/>
              <a:gd name="connsiteX24" fmla="*/ 2022561 w 2860975"/>
              <a:gd name="connsiteY24" fmla="*/ 242419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790484 w 2860975"/>
              <a:gd name="connsiteY23" fmla="*/ 242419 h 6156118"/>
              <a:gd name="connsiteX24" fmla="*/ 2022561 w 2860975"/>
              <a:gd name="connsiteY24" fmla="*/ 242419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790484 w 2860975"/>
              <a:gd name="connsiteY23" fmla="*/ 242419 h 6156118"/>
              <a:gd name="connsiteX24" fmla="*/ 2022561 w 2860975"/>
              <a:gd name="connsiteY24" fmla="*/ 242419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790484 w 2860975"/>
              <a:gd name="connsiteY23" fmla="*/ 242419 h 6156118"/>
              <a:gd name="connsiteX24" fmla="*/ 2022561 w 2860975"/>
              <a:gd name="connsiteY24" fmla="*/ 242419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2561 w 2860975"/>
              <a:gd name="connsiteY24" fmla="*/ 242419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60776 w 2860975"/>
              <a:gd name="connsiteY25" fmla="*/ 163057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60776 w 2860975"/>
              <a:gd name="connsiteY25" fmla="*/ 163057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60776 w 2860975"/>
              <a:gd name="connsiteY25" fmla="*/ 163057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60776 w 2860975"/>
              <a:gd name="connsiteY25" fmla="*/ 163057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60776 w 2860975"/>
              <a:gd name="connsiteY25" fmla="*/ 163057 h 6156118"/>
              <a:gd name="connsiteX26" fmla="*/ 2205413 w 2860975"/>
              <a:gd name="connsiteY26" fmla="*/ 89905 h 6156118"/>
              <a:gd name="connsiteX27" fmla="*/ 2340821 w 2860975"/>
              <a:gd name="connsiteY27" fmla="*/ 5626 h 6156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860975" h="6156118">
                <a:moveTo>
                  <a:pt x="2340821" y="5626"/>
                </a:moveTo>
                <a:cubicBezTo>
                  <a:pt x="2394593" y="10297"/>
                  <a:pt x="2455073" y="-5153"/>
                  <a:pt x="2508845" y="1854"/>
                </a:cubicBezTo>
                <a:cubicBezTo>
                  <a:pt x="2560279" y="6525"/>
                  <a:pt x="2614051" y="11197"/>
                  <a:pt x="2663147" y="27546"/>
                </a:cubicBezTo>
                <a:cubicBezTo>
                  <a:pt x="2749650" y="55573"/>
                  <a:pt x="2805759" y="116298"/>
                  <a:pt x="2829139" y="202714"/>
                </a:cubicBezTo>
                <a:cubicBezTo>
                  <a:pt x="2861869" y="317158"/>
                  <a:pt x="2864207" y="422859"/>
                  <a:pt x="2858618" y="541973"/>
                </a:cubicBezTo>
                <a:cubicBezTo>
                  <a:pt x="2851299" y="627790"/>
                  <a:pt x="2852078" y="698666"/>
                  <a:pt x="2851299" y="804396"/>
                </a:cubicBezTo>
                <a:cubicBezTo>
                  <a:pt x="2850520" y="910126"/>
                  <a:pt x="2851605" y="1050232"/>
                  <a:pt x="2853943" y="1176354"/>
                </a:cubicBezTo>
                <a:cubicBezTo>
                  <a:pt x="2856281" y="1248757"/>
                  <a:pt x="2850807" y="627352"/>
                  <a:pt x="2850180" y="1386856"/>
                </a:cubicBezTo>
                <a:cubicBezTo>
                  <a:pt x="2849553" y="2146360"/>
                  <a:pt x="2850180" y="4284537"/>
                  <a:pt x="2850180" y="5733378"/>
                </a:cubicBezTo>
                <a:cubicBezTo>
                  <a:pt x="2850180" y="5808116"/>
                  <a:pt x="2840828" y="5882855"/>
                  <a:pt x="2826801" y="5955258"/>
                </a:cubicBezTo>
                <a:cubicBezTo>
                  <a:pt x="2819787" y="5987956"/>
                  <a:pt x="2791732" y="6020654"/>
                  <a:pt x="2766015" y="6046346"/>
                </a:cubicBezTo>
                <a:cubicBezTo>
                  <a:pt x="2674837" y="6142105"/>
                  <a:pt x="2555603" y="6156118"/>
                  <a:pt x="2429356" y="6156118"/>
                </a:cubicBezTo>
                <a:lnTo>
                  <a:pt x="362647" y="6153783"/>
                </a:lnTo>
                <a:cubicBezTo>
                  <a:pt x="269130" y="6153783"/>
                  <a:pt x="177952" y="6139769"/>
                  <a:pt x="103139" y="6069702"/>
                </a:cubicBezTo>
                <a:cubicBezTo>
                  <a:pt x="33002" y="6001970"/>
                  <a:pt x="7285" y="5913218"/>
                  <a:pt x="7285" y="5819794"/>
                </a:cubicBezTo>
                <a:cubicBezTo>
                  <a:pt x="4947" y="5182180"/>
                  <a:pt x="7285" y="4544565"/>
                  <a:pt x="7285" y="3906951"/>
                </a:cubicBezTo>
                <a:lnTo>
                  <a:pt x="7285" y="3206275"/>
                </a:lnTo>
                <a:cubicBezTo>
                  <a:pt x="7285" y="2363130"/>
                  <a:pt x="7285" y="1522319"/>
                  <a:pt x="4947" y="679174"/>
                </a:cubicBezTo>
                <a:cubicBezTo>
                  <a:pt x="4947" y="583415"/>
                  <a:pt x="-4405" y="485320"/>
                  <a:pt x="2609" y="389561"/>
                </a:cubicBezTo>
                <a:cubicBezTo>
                  <a:pt x="7285" y="307816"/>
                  <a:pt x="23650" y="249964"/>
                  <a:pt x="47029" y="170554"/>
                </a:cubicBezTo>
                <a:cubicBezTo>
                  <a:pt x="75084" y="84137"/>
                  <a:pt x="151066" y="57338"/>
                  <a:pt x="234062" y="31018"/>
                </a:cubicBezTo>
                <a:cubicBezTo>
                  <a:pt x="317058" y="4698"/>
                  <a:pt x="477118" y="5037"/>
                  <a:pt x="545003" y="12633"/>
                </a:cubicBezTo>
                <a:cubicBezTo>
                  <a:pt x="612888" y="20229"/>
                  <a:pt x="636694" y="29881"/>
                  <a:pt x="641370" y="76593"/>
                </a:cubicBezTo>
                <a:cubicBezTo>
                  <a:pt x="687972" y="205752"/>
                  <a:pt x="791992" y="193111"/>
                  <a:pt x="853104" y="193715"/>
                </a:cubicBezTo>
                <a:lnTo>
                  <a:pt x="2029518" y="193715"/>
                </a:lnTo>
                <a:cubicBezTo>
                  <a:pt x="2064606" y="188605"/>
                  <a:pt x="2108420" y="181980"/>
                  <a:pt x="2160776" y="163057"/>
                </a:cubicBezTo>
                <a:cubicBezTo>
                  <a:pt x="2179479" y="137366"/>
                  <a:pt x="2200737" y="120267"/>
                  <a:pt x="2205413" y="89905"/>
                </a:cubicBezTo>
                <a:cubicBezTo>
                  <a:pt x="2217103" y="22173"/>
                  <a:pt x="2251164" y="11733"/>
                  <a:pt x="2340821" y="5626"/>
                </a:cubicBezTo>
                <a:close/>
              </a:path>
            </a:pathLst>
          </a:custGeom>
          <a:blipFill>
            <a:blip r:embed="rId4"/>
            <a:stretch>
              <a:fillRect l="-121001" r="-138446" b="-5101"/>
            </a:stretch>
          </a:blipFill>
        </p:spPr>
        <p:txBody>
          <a:bodyPr wrap="square" anchor="ctr" anchorCtr="1">
            <a:noAutofit/>
          </a:bodyPr>
          <a:lstStyle>
            <a:lvl1pPr marL="0" indent="0">
              <a:buNone/>
              <a:defRPr/>
            </a:lvl1pPr>
          </a:lstStyle>
          <a:p>
            <a:endParaRPr lang="en-US"/>
          </a:p>
        </p:txBody>
      </p:sp>
      <p:sp>
        <p:nvSpPr>
          <p:cNvPr id="61" name="Picture Placeholder 3">
            <a:extLst>
              <a:ext uri="{FF2B5EF4-FFF2-40B4-BE49-F238E27FC236}">
                <a16:creationId xmlns:a16="http://schemas.microsoft.com/office/drawing/2014/main" id="{B5C04179-D9E5-3748-BB16-E43D542CBD80}"/>
              </a:ext>
            </a:extLst>
          </p:cNvPr>
          <p:cNvSpPr>
            <a:spLocks noGrp="1" noChangeAspect="1"/>
          </p:cNvSpPr>
          <p:nvPr>
            <p:ph type="pic" sz="quarter" idx="13"/>
          </p:nvPr>
        </p:nvSpPr>
        <p:spPr>
          <a:xfrm>
            <a:off x="8393206" y="4384791"/>
            <a:ext cx="1440599" cy="3099816"/>
          </a:xfrm>
          <a:custGeom>
            <a:avLst/>
            <a:gdLst>
              <a:gd name="connsiteX0" fmla="*/ 2345192 w 2857253"/>
              <a:gd name="connsiteY0" fmla="*/ 986 h 6164592"/>
              <a:gd name="connsiteX1" fmla="*/ 2508845 w 2857253"/>
              <a:gd name="connsiteY1" fmla="*/ 10328 h 6164592"/>
              <a:gd name="connsiteX2" fmla="*/ 2663147 w 2857253"/>
              <a:gd name="connsiteY2" fmla="*/ 36020 h 6164592"/>
              <a:gd name="connsiteX3" fmla="*/ 2829139 w 2857253"/>
              <a:gd name="connsiteY3" fmla="*/ 211188 h 6164592"/>
              <a:gd name="connsiteX4" fmla="*/ 2845504 w 2857253"/>
              <a:gd name="connsiteY4" fmla="*/ 559190 h 6164592"/>
              <a:gd name="connsiteX5" fmla="*/ 2833814 w 2857253"/>
              <a:gd name="connsiteY5" fmla="*/ 799756 h 6164592"/>
              <a:gd name="connsiteX6" fmla="*/ 2840828 w 2857253"/>
              <a:gd name="connsiteY6" fmla="*/ 1180456 h 6164592"/>
              <a:gd name="connsiteX7" fmla="*/ 2850180 w 2857253"/>
              <a:gd name="connsiteY7" fmla="*/ 1395330 h 6164592"/>
              <a:gd name="connsiteX8" fmla="*/ 2850180 w 2857253"/>
              <a:gd name="connsiteY8" fmla="*/ 5741852 h 6164592"/>
              <a:gd name="connsiteX9" fmla="*/ 2826801 w 2857253"/>
              <a:gd name="connsiteY9" fmla="*/ 5963732 h 6164592"/>
              <a:gd name="connsiteX10" fmla="*/ 2766015 w 2857253"/>
              <a:gd name="connsiteY10" fmla="*/ 6054820 h 6164592"/>
              <a:gd name="connsiteX11" fmla="*/ 2429356 w 2857253"/>
              <a:gd name="connsiteY11" fmla="*/ 6164592 h 6164592"/>
              <a:gd name="connsiteX12" fmla="*/ 362647 w 2857253"/>
              <a:gd name="connsiteY12" fmla="*/ 6162257 h 6164592"/>
              <a:gd name="connsiteX13" fmla="*/ 103139 w 2857253"/>
              <a:gd name="connsiteY13" fmla="*/ 6078176 h 6164592"/>
              <a:gd name="connsiteX14" fmla="*/ 7285 w 2857253"/>
              <a:gd name="connsiteY14" fmla="*/ 5828268 h 6164592"/>
              <a:gd name="connsiteX15" fmla="*/ 7285 w 2857253"/>
              <a:gd name="connsiteY15" fmla="*/ 3915425 h 6164592"/>
              <a:gd name="connsiteX16" fmla="*/ 7285 w 2857253"/>
              <a:gd name="connsiteY16" fmla="*/ 3214749 h 6164592"/>
              <a:gd name="connsiteX17" fmla="*/ 4947 w 2857253"/>
              <a:gd name="connsiteY17" fmla="*/ 687648 h 6164592"/>
              <a:gd name="connsiteX18" fmla="*/ 2609 w 2857253"/>
              <a:gd name="connsiteY18" fmla="*/ 398035 h 6164592"/>
              <a:gd name="connsiteX19" fmla="*/ 47029 w 2857253"/>
              <a:gd name="connsiteY19" fmla="*/ 152799 h 6164592"/>
              <a:gd name="connsiteX20" fmla="*/ 234062 w 2857253"/>
              <a:gd name="connsiteY20" fmla="*/ 22006 h 6164592"/>
              <a:gd name="connsiteX21" fmla="*/ 545003 w 2857253"/>
              <a:gd name="connsiteY21" fmla="*/ 7993 h 6164592"/>
              <a:gd name="connsiteX22" fmla="*/ 615141 w 2857253"/>
              <a:gd name="connsiteY22" fmla="*/ 85067 h 6164592"/>
              <a:gd name="connsiteX23" fmla="*/ 790484 w 2857253"/>
              <a:gd name="connsiteY23" fmla="*/ 250893 h 6164592"/>
              <a:gd name="connsiteX24" fmla="*/ 2022561 w 2857253"/>
              <a:gd name="connsiteY24" fmla="*/ 250893 h 6164592"/>
              <a:gd name="connsiteX25" fmla="*/ 2195566 w 2857253"/>
              <a:gd name="connsiteY25" fmla="*/ 178490 h 6164592"/>
              <a:gd name="connsiteX26" fmla="*/ 2230634 w 2857253"/>
              <a:gd name="connsiteY26" fmla="*/ 92074 h 6164592"/>
              <a:gd name="connsiteX27" fmla="*/ 2345192 w 2857253"/>
              <a:gd name="connsiteY27" fmla="*/ 986 h 6164592"/>
              <a:gd name="connsiteX0" fmla="*/ 2345192 w 2857253"/>
              <a:gd name="connsiteY0" fmla="*/ 986 h 6164592"/>
              <a:gd name="connsiteX1" fmla="*/ 2508845 w 2857253"/>
              <a:gd name="connsiteY1" fmla="*/ 10328 h 6164592"/>
              <a:gd name="connsiteX2" fmla="*/ 2663147 w 2857253"/>
              <a:gd name="connsiteY2" fmla="*/ 36020 h 6164592"/>
              <a:gd name="connsiteX3" fmla="*/ 2829139 w 2857253"/>
              <a:gd name="connsiteY3" fmla="*/ 211188 h 6164592"/>
              <a:gd name="connsiteX4" fmla="*/ 2845504 w 2857253"/>
              <a:gd name="connsiteY4" fmla="*/ 554819 h 6164592"/>
              <a:gd name="connsiteX5" fmla="*/ 2833814 w 2857253"/>
              <a:gd name="connsiteY5" fmla="*/ 799756 h 6164592"/>
              <a:gd name="connsiteX6" fmla="*/ 2840828 w 2857253"/>
              <a:gd name="connsiteY6" fmla="*/ 1180456 h 6164592"/>
              <a:gd name="connsiteX7" fmla="*/ 2850180 w 2857253"/>
              <a:gd name="connsiteY7" fmla="*/ 1395330 h 6164592"/>
              <a:gd name="connsiteX8" fmla="*/ 2850180 w 2857253"/>
              <a:gd name="connsiteY8" fmla="*/ 5741852 h 6164592"/>
              <a:gd name="connsiteX9" fmla="*/ 2826801 w 2857253"/>
              <a:gd name="connsiteY9" fmla="*/ 5963732 h 6164592"/>
              <a:gd name="connsiteX10" fmla="*/ 2766015 w 2857253"/>
              <a:gd name="connsiteY10" fmla="*/ 6054820 h 6164592"/>
              <a:gd name="connsiteX11" fmla="*/ 2429356 w 2857253"/>
              <a:gd name="connsiteY11" fmla="*/ 6164592 h 6164592"/>
              <a:gd name="connsiteX12" fmla="*/ 362647 w 2857253"/>
              <a:gd name="connsiteY12" fmla="*/ 6162257 h 6164592"/>
              <a:gd name="connsiteX13" fmla="*/ 103139 w 2857253"/>
              <a:gd name="connsiteY13" fmla="*/ 6078176 h 6164592"/>
              <a:gd name="connsiteX14" fmla="*/ 7285 w 2857253"/>
              <a:gd name="connsiteY14" fmla="*/ 5828268 h 6164592"/>
              <a:gd name="connsiteX15" fmla="*/ 7285 w 2857253"/>
              <a:gd name="connsiteY15" fmla="*/ 3915425 h 6164592"/>
              <a:gd name="connsiteX16" fmla="*/ 7285 w 2857253"/>
              <a:gd name="connsiteY16" fmla="*/ 3214749 h 6164592"/>
              <a:gd name="connsiteX17" fmla="*/ 4947 w 2857253"/>
              <a:gd name="connsiteY17" fmla="*/ 687648 h 6164592"/>
              <a:gd name="connsiteX18" fmla="*/ 2609 w 2857253"/>
              <a:gd name="connsiteY18" fmla="*/ 398035 h 6164592"/>
              <a:gd name="connsiteX19" fmla="*/ 47029 w 2857253"/>
              <a:gd name="connsiteY19" fmla="*/ 152799 h 6164592"/>
              <a:gd name="connsiteX20" fmla="*/ 234062 w 2857253"/>
              <a:gd name="connsiteY20" fmla="*/ 22006 h 6164592"/>
              <a:gd name="connsiteX21" fmla="*/ 545003 w 2857253"/>
              <a:gd name="connsiteY21" fmla="*/ 7993 h 6164592"/>
              <a:gd name="connsiteX22" fmla="*/ 615141 w 2857253"/>
              <a:gd name="connsiteY22" fmla="*/ 85067 h 6164592"/>
              <a:gd name="connsiteX23" fmla="*/ 790484 w 2857253"/>
              <a:gd name="connsiteY23" fmla="*/ 250893 h 6164592"/>
              <a:gd name="connsiteX24" fmla="*/ 2022561 w 2857253"/>
              <a:gd name="connsiteY24" fmla="*/ 250893 h 6164592"/>
              <a:gd name="connsiteX25" fmla="*/ 2195566 w 2857253"/>
              <a:gd name="connsiteY25" fmla="*/ 178490 h 6164592"/>
              <a:gd name="connsiteX26" fmla="*/ 2230634 w 2857253"/>
              <a:gd name="connsiteY26" fmla="*/ 92074 h 6164592"/>
              <a:gd name="connsiteX27" fmla="*/ 2345192 w 2857253"/>
              <a:gd name="connsiteY27" fmla="*/ 986 h 6164592"/>
              <a:gd name="connsiteX0" fmla="*/ 2345192 w 2857253"/>
              <a:gd name="connsiteY0" fmla="*/ 986 h 6164592"/>
              <a:gd name="connsiteX1" fmla="*/ 2508845 w 2857253"/>
              <a:gd name="connsiteY1" fmla="*/ 10328 h 6164592"/>
              <a:gd name="connsiteX2" fmla="*/ 2663147 w 2857253"/>
              <a:gd name="connsiteY2" fmla="*/ 36020 h 6164592"/>
              <a:gd name="connsiteX3" fmla="*/ 2829139 w 2857253"/>
              <a:gd name="connsiteY3" fmla="*/ 211188 h 6164592"/>
              <a:gd name="connsiteX4" fmla="*/ 2845504 w 2857253"/>
              <a:gd name="connsiteY4" fmla="*/ 554819 h 6164592"/>
              <a:gd name="connsiteX5" fmla="*/ 2851299 w 2857253"/>
              <a:gd name="connsiteY5" fmla="*/ 812870 h 6164592"/>
              <a:gd name="connsiteX6" fmla="*/ 2840828 w 2857253"/>
              <a:gd name="connsiteY6" fmla="*/ 1180456 h 6164592"/>
              <a:gd name="connsiteX7" fmla="*/ 2850180 w 2857253"/>
              <a:gd name="connsiteY7" fmla="*/ 1395330 h 6164592"/>
              <a:gd name="connsiteX8" fmla="*/ 2850180 w 2857253"/>
              <a:gd name="connsiteY8" fmla="*/ 5741852 h 6164592"/>
              <a:gd name="connsiteX9" fmla="*/ 2826801 w 2857253"/>
              <a:gd name="connsiteY9" fmla="*/ 5963732 h 6164592"/>
              <a:gd name="connsiteX10" fmla="*/ 2766015 w 2857253"/>
              <a:gd name="connsiteY10" fmla="*/ 6054820 h 6164592"/>
              <a:gd name="connsiteX11" fmla="*/ 2429356 w 2857253"/>
              <a:gd name="connsiteY11" fmla="*/ 6164592 h 6164592"/>
              <a:gd name="connsiteX12" fmla="*/ 362647 w 2857253"/>
              <a:gd name="connsiteY12" fmla="*/ 6162257 h 6164592"/>
              <a:gd name="connsiteX13" fmla="*/ 103139 w 2857253"/>
              <a:gd name="connsiteY13" fmla="*/ 6078176 h 6164592"/>
              <a:gd name="connsiteX14" fmla="*/ 7285 w 2857253"/>
              <a:gd name="connsiteY14" fmla="*/ 5828268 h 6164592"/>
              <a:gd name="connsiteX15" fmla="*/ 7285 w 2857253"/>
              <a:gd name="connsiteY15" fmla="*/ 3915425 h 6164592"/>
              <a:gd name="connsiteX16" fmla="*/ 7285 w 2857253"/>
              <a:gd name="connsiteY16" fmla="*/ 3214749 h 6164592"/>
              <a:gd name="connsiteX17" fmla="*/ 4947 w 2857253"/>
              <a:gd name="connsiteY17" fmla="*/ 687648 h 6164592"/>
              <a:gd name="connsiteX18" fmla="*/ 2609 w 2857253"/>
              <a:gd name="connsiteY18" fmla="*/ 398035 h 6164592"/>
              <a:gd name="connsiteX19" fmla="*/ 47029 w 2857253"/>
              <a:gd name="connsiteY19" fmla="*/ 152799 h 6164592"/>
              <a:gd name="connsiteX20" fmla="*/ 234062 w 2857253"/>
              <a:gd name="connsiteY20" fmla="*/ 22006 h 6164592"/>
              <a:gd name="connsiteX21" fmla="*/ 545003 w 2857253"/>
              <a:gd name="connsiteY21" fmla="*/ 7993 h 6164592"/>
              <a:gd name="connsiteX22" fmla="*/ 615141 w 2857253"/>
              <a:gd name="connsiteY22" fmla="*/ 85067 h 6164592"/>
              <a:gd name="connsiteX23" fmla="*/ 790484 w 2857253"/>
              <a:gd name="connsiteY23" fmla="*/ 250893 h 6164592"/>
              <a:gd name="connsiteX24" fmla="*/ 2022561 w 2857253"/>
              <a:gd name="connsiteY24" fmla="*/ 250893 h 6164592"/>
              <a:gd name="connsiteX25" fmla="*/ 2195566 w 2857253"/>
              <a:gd name="connsiteY25" fmla="*/ 178490 h 6164592"/>
              <a:gd name="connsiteX26" fmla="*/ 2230634 w 2857253"/>
              <a:gd name="connsiteY26" fmla="*/ 92074 h 6164592"/>
              <a:gd name="connsiteX27" fmla="*/ 2345192 w 2857253"/>
              <a:gd name="connsiteY27" fmla="*/ 986 h 6164592"/>
              <a:gd name="connsiteX0" fmla="*/ 2345192 w 2857253"/>
              <a:gd name="connsiteY0" fmla="*/ 986 h 6164592"/>
              <a:gd name="connsiteX1" fmla="*/ 2508845 w 2857253"/>
              <a:gd name="connsiteY1" fmla="*/ 10328 h 6164592"/>
              <a:gd name="connsiteX2" fmla="*/ 2663147 w 2857253"/>
              <a:gd name="connsiteY2" fmla="*/ 36020 h 6164592"/>
              <a:gd name="connsiteX3" fmla="*/ 2829139 w 2857253"/>
              <a:gd name="connsiteY3" fmla="*/ 211188 h 6164592"/>
              <a:gd name="connsiteX4" fmla="*/ 2845504 w 2857253"/>
              <a:gd name="connsiteY4" fmla="*/ 554819 h 6164592"/>
              <a:gd name="connsiteX5" fmla="*/ 2851299 w 2857253"/>
              <a:gd name="connsiteY5" fmla="*/ 812870 h 6164592"/>
              <a:gd name="connsiteX6" fmla="*/ 2853943 w 2857253"/>
              <a:gd name="connsiteY6" fmla="*/ 1184828 h 6164592"/>
              <a:gd name="connsiteX7" fmla="*/ 2850180 w 2857253"/>
              <a:gd name="connsiteY7" fmla="*/ 1395330 h 6164592"/>
              <a:gd name="connsiteX8" fmla="*/ 2850180 w 2857253"/>
              <a:gd name="connsiteY8" fmla="*/ 5741852 h 6164592"/>
              <a:gd name="connsiteX9" fmla="*/ 2826801 w 2857253"/>
              <a:gd name="connsiteY9" fmla="*/ 5963732 h 6164592"/>
              <a:gd name="connsiteX10" fmla="*/ 2766015 w 2857253"/>
              <a:gd name="connsiteY10" fmla="*/ 6054820 h 6164592"/>
              <a:gd name="connsiteX11" fmla="*/ 2429356 w 2857253"/>
              <a:gd name="connsiteY11" fmla="*/ 6164592 h 6164592"/>
              <a:gd name="connsiteX12" fmla="*/ 362647 w 2857253"/>
              <a:gd name="connsiteY12" fmla="*/ 6162257 h 6164592"/>
              <a:gd name="connsiteX13" fmla="*/ 103139 w 2857253"/>
              <a:gd name="connsiteY13" fmla="*/ 6078176 h 6164592"/>
              <a:gd name="connsiteX14" fmla="*/ 7285 w 2857253"/>
              <a:gd name="connsiteY14" fmla="*/ 5828268 h 6164592"/>
              <a:gd name="connsiteX15" fmla="*/ 7285 w 2857253"/>
              <a:gd name="connsiteY15" fmla="*/ 3915425 h 6164592"/>
              <a:gd name="connsiteX16" fmla="*/ 7285 w 2857253"/>
              <a:gd name="connsiteY16" fmla="*/ 3214749 h 6164592"/>
              <a:gd name="connsiteX17" fmla="*/ 4947 w 2857253"/>
              <a:gd name="connsiteY17" fmla="*/ 687648 h 6164592"/>
              <a:gd name="connsiteX18" fmla="*/ 2609 w 2857253"/>
              <a:gd name="connsiteY18" fmla="*/ 398035 h 6164592"/>
              <a:gd name="connsiteX19" fmla="*/ 47029 w 2857253"/>
              <a:gd name="connsiteY19" fmla="*/ 152799 h 6164592"/>
              <a:gd name="connsiteX20" fmla="*/ 234062 w 2857253"/>
              <a:gd name="connsiteY20" fmla="*/ 22006 h 6164592"/>
              <a:gd name="connsiteX21" fmla="*/ 545003 w 2857253"/>
              <a:gd name="connsiteY21" fmla="*/ 7993 h 6164592"/>
              <a:gd name="connsiteX22" fmla="*/ 615141 w 2857253"/>
              <a:gd name="connsiteY22" fmla="*/ 85067 h 6164592"/>
              <a:gd name="connsiteX23" fmla="*/ 790484 w 2857253"/>
              <a:gd name="connsiteY23" fmla="*/ 250893 h 6164592"/>
              <a:gd name="connsiteX24" fmla="*/ 2022561 w 2857253"/>
              <a:gd name="connsiteY24" fmla="*/ 250893 h 6164592"/>
              <a:gd name="connsiteX25" fmla="*/ 2195566 w 2857253"/>
              <a:gd name="connsiteY25" fmla="*/ 178490 h 6164592"/>
              <a:gd name="connsiteX26" fmla="*/ 2230634 w 2857253"/>
              <a:gd name="connsiteY26" fmla="*/ 92074 h 6164592"/>
              <a:gd name="connsiteX27" fmla="*/ 2345192 w 2857253"/>
              <a:gd name="connsiteY27" fmla="*/ 986 h 6164592"/>
              <a:gd name="connsiteX0" fmla="*/ 2345192 w 2860168"/>
              <a:gd name="connsiteY0" fmla="*/ 986 h 6164592"/>
              <a:gd name="connsiteX1" fmla="*/ 2508845 w 2860168"/>
              <a:gd name="connsiteY1" fmla="*/ 10328 h 6164592"/>
              <a:gd name="connsiteX2" fmla="*/ 2663147 w 2860168"/>
              <a:gd name="connsiteY2" fmla="*/ 36020 h 6164592"/>
              <a:gd name="connsiteX3" fmla="*/ 2829139 w 2860168"/>
              <a:gd name="connsiteY3" fmla="*/ 211188 h 6164592"/>
              <a:gd name="connsiteX4" fmla="*/ 2849875 w 2860168"/>
              <a:gd name="connsiteY4" fmla="*/ 554819 h 6164592"/>
              <a:gd name="connsiteX5" fmla="*/ 2851299 w 2860168"/>
              <a:gd name="connsiteY5" fmla="*/ 812870 h 6164592"/>
              <a:gd name="connsiteX6" fmla="*/ 2853943 w 2860168"/>
              <a:gd name="connsiteY6" fmla="*/ 1184828 h 6164592"/>
              <a:gd name="connsiteX7" fmla="*/ 2850180 w 2860168"/>
              <a:gd name="connsiteY7" fmla="*/ 1395330 h 6164592"/>
              <a:gd name="connsiteX8" fmla="*/ 2850180 w 2860168"/>
              <a:gd name="connsiteY8" fmla="*/ 5741852 h 6164592"/>
              <a:gd name="connsiteX9" fmla="*/ 2826801 w 2860168"/>
              <a:gd name="connsiteY9" fmla="*/ 5963732 h 6164592"/>
              <a:gd name="connsiteX10" fmla="*/ 2766015 w 2860168"/>
              <a:gd name="connsiteY10" fmla="*/ 6054820 h 6164592"/>
              <a:gd name="connsiteX11" fmla="*/ 2429356 w 2860168"/>
              <a:gd name="connsiteY11" fmla="*/ 6164592 h 6164592"/>
              <a:gd name="connsiteX12" fmla="*/ 362647 w 2860168"/>
              <a:gd name="connsiteY12" fmla="*/ 6162257 h 6164592"/>
              <a:gd name="connsiteX13" fmla="*/ 103139 w 2860168"/>
              <a:gd name="connsiteY13" fmla="*/ 6078176 h 6164592"/>
              <a:gd name="connsiteX14" fmla="*/ 7285 w 2860168"/>
              <a:gd name="connsiteY14" fmla="*/ 5828268 h 6164592"/>
              <a:gd name="connsiteX15" fmla="*/ 7285 w 2860168"/>
              <a:gd name="connsiteY15" fmla="*/ 3915425 h 6164592"/>
              <a:gd name="connsiteX16" fmla="*/ 7285 w 2860168"/>
              <a:gd name="connsiteY16" fmla="*/ 3214749 h 6164592"/>
              <a:gd name="connsiteX17" fmla="*/ 4947 w 2860168"/>
              <a:gd name="connsiteY17" fmla="*/ 687648 h 6164592"/>
              <a:gd name="connsiteX18" fmla="*/ 2609 w 2860168"/>
              <a:gd name="connsiteY18" fmla="*/ 398035 h 6164592"/>
              <a:gd name="connsiteX19" fmla="*/ 47029 w 2860168"/>
              <a:gd name="connsiteY19" fmla="*/ 152799 h 6164592"/>
              <a:gd name="connsiteX20" fmla="*/ 234062 w 2860168"/>
              <a:gd name="connsiteY20" fmla="*/ 22006 h 6164592"/>
              <a:gd name="connsiteX21" fmla="*/ 545003 w 2860168"/>
              <a:gd name="connsiteY21" fmla="*/ 7993 h 6164592"/>
              <a:gd name="connsiteX22" fmla="*/ 615141 w 2860168"/>
              <a:gd name="connsiteY22" fmla="*/ 85067 h 6164592"/>
              <a:gd name="connsiteX23" fmla="*/ 790484 w 2860168"/>
              <a:gd name="connsiteY23" fmla="*/ 250893 h 6164592"/>
              <a:gd name="connsiteX24" fmla="*/ 2022561 w 2860168"/>
              <a:gd name="connsiteY24" fmla="*/ 250893 h 6164592"/>
              <a:gd name="connsiteX25" fmla="*/ 2195566 w 2860168"/>
              <a:gd name="connsiteY25" fmla="*/ 178490 h 6164592"/>
              <a:gd name="connsiteX26" fmla="*/ 2230634 w 2860168"/>
              <a:gd name="connsiteY26" fmla="*/ 92074 h 6164592"/>
              <a:gd name="connsiteX27" fmla="*/ 2345192 w 2860168"/>
              <a:gd name="connsiteY27" fmla="*/ 986 h 6164592"/>
              <a:gd name="connsiteX0" fmla="*/ 2345192 w 2854520"/>
              <a:gd name="connsiteY0" fmla="*/ 986 h 6164592"/>
              <a:gd name="connsiteX1" fmla="*/ 2508845 w 2854520"/>
              <a:gd name="connsiteY1" fmla="*/ 10328 h 6164592"/>
              <a:gd name="connsiteX2" fmla="*/ 2663147 w 2854520"/>
              <a:gd name="connsiteY2" fmla="*/ 36020 h 6164592"/>
              <a:gd name="connsiteX3" fmla="*/ 2829139 w 2854520"/>
              <a:gd name="connsiteY3" fmla="*/ 211188 h 6164592"/>
              <a:gd name="connsiteX4" fmla="*/ 2849875 w 2854520"/>
              <a:gd name="connsiteY4" fmla="*/ 554819 h 6164592"/>
              <a:gd name="connsiteX5" fmla="*/ 2851299 w 2854520"/>
              <a:gd name="connsiteY5" fmla="*/ 812870 h 6164592"/>
              <a:gd name="connsiteX6" fmla="*/ 2853943 w 2854520"/>
              <a:gd name="connsiteY6" fmla="*/ 1184828 h 6164592"/>
              <a:gd name="connsiteX7" fmla="*/ 2850180 w 2854520"/>
              <a:gd name="connsiteY7" fmla="*/ 1395330 h 6164592"/>
              <a:gd name="connsiteX8" fmla="*/ 2850180 w 2854520"/>
              <a:gd name="connsiteY8" fmla="*/ 5741852 h 6164592"/>
              <a:gd name="connsiteX9" fmla="*/ 2826801 w 2854520"/>
              <a:gd name="connsiteY9" fmla="*/ 5963732 h 6164592"/>
              <a:gd name="connsiteX10" fmla="*/ 2766015 w 2854520"/>
              <a:gd name="connsiteY10" fmla="*/ 6054820 h 6164592"/>
              <a:gd name="connsiteX11" fmla="*/ 2429356 w 2854520"/>
              <a:gd name="connsiteY11" fmla="*/ 6164592 h 6164592"/>
              <a:gd name="connsiteX12" fmla="*/ 362647 w 2854520"/>
              <a:gd name="connsiteY12" fmla="*/ 6162257 h 6164592"/>
              <a:gd name="connsiteX13" fmla="*/ 103139 w 2854520"/>
              <a:gd name="connsiteY13" fmla="*/ 6078176 h 6164592"/>
              <a:gd name="connsiteX14" fmla="*/ 7285 w 2854520"/>
              <a:gd name="connsiteY14" fmla="*/ 5828268 h 6164592"/>
              <a:gd name="connsiteX15" fmla="*/ 7285 w 2854520"/>
              <a:gd name="connsiteY15" fmla="*/ 3915425 h 6164592"/>
              <a:gd name="connsiteX16" fmla="*/ 7285 w 2854520"/>
              <a:gd name="connsiteY16" fmla="*/ 3214749 h 6164592"/>
              <a:gd name="connsiteX17" fmla="*/ 4947 w 2854520"/>
              <a:gd name="connsiteY17" fmla="*/ 687648 h 6164592"/>
              <a:gd name="connsiteX18" fmla="*/ 2609 w 2854520"/>
              <a:gd name="connsiteY18" fmla="*/ 398035 h 6164592"/>
              <a:gd name="connsiteX19" fmla="*/ 47029 w 2854520"/>
              <a:gd name="connsiteY19" fmla="*/ 152799 h 6164592"/>
              <a:gd name="connsiteX20" fmla="*/ 234062 w 2854520"/>
              <a:gd name="connsiteY20" fmla="*/ 22006 h 6164592"/>
              <a:gd name="connsiteX21" fmla="*/ 545003 w 2854520"/>
              <a:gd name="connsiteY21" fmla="*/ 7993 h 6164592"/>
              <a:gd name="connsiteX22" fmla="*/ 615141 w 2854520"/>
              <a:gd name="connsiteY22" fmla="*/ 85067 h 6164592"/>
              <a:gd name="connsiteX23" fmla="*/ 790484 w 2854520"/>
              <a:gd name="connsiteY23" fmla="*/ 250893 h 6164592"/>
              <a:gd name="connsiteX24" fmla="*/ 2022561 w 2854520"/>
              <a:gd name="connsiteY24" fmla="*/ 250893 h 6164592"/>
              <a:gd name="connsiteX25" fmla="*/ 2195566 w 2854520"/>
              <a:gd name="connsiteY25" fmla="*/ 178490 h 6164592"/>
              <a:gd name="connsiteX26" fmla="*/ 2230634 w 2854520"/>
              <a:gd name="connsiteY26" fmla="*/ 92074 h 6164592"/>
              <a:gd name="connsiteX27" fmla="*/ 2345192 w 2854520"/>
              <a:gd name="connsiteY27" fmla="*/ 986 h 6164592"/>
              <a:gd name="connsiteX0" fmla="*/ 2345192 w 2854520"/>
              <a:gd name="connsiteY0" fmla="*/ 986 h 6164592"/>
              <a:gd name="connsiteX1" fmla="*/ 2508845 w 2854520"/>
              <a:gd name="connsiteY1" fmla="*/ 10328 h 6164592"/>
              <a:gd name="connsiteX2" fmla="*/ 2663147 w 2854520"/>
              <a:gd name="connsiteY2" fmla="*/ 36020 h 6164592"/>
              <a:gd name="connsiteX3" fmla="*/ 2829139 w 2854520"/>
              <a:gd name="connsiteY3" fmla="*/ 211188 h 6164592"/>
              <a:gd name="connsiteX4" fmla="*/ 2849875 w 2854520"/>
              <a:gd name="connsiteY4" fmla="*/ 554819 h 6164592"/>
              <a:gd name="connsiteX5" fmla="*/ 2851299 w 2854520"/>
              <a:gd name="connsiteY5" fmla="*/ 812870 h 6164592"/>
              <a:gd name="connsiteX6" fmla="*/ 2853943 w 2854520"/>
              <a:gd name="connsiteY6" fmla="*/ 1184828 h 6164592"/>
              <a:gd name="connsiteX7" fmla="*/ 2850180 w 2854520"/>
              <a:gd name="connsiteY7" fmla="*/ 1395330 h 6164592"/>
              <a:gd name="connsiteX8" fmla="*/ 2850180 w 2854520"/>
              <a:gd name="connsiteY8" fmla="*/ 5741852 h 6164592"/>
              <a:gd name="connsiteX9" fmla="*/ 2826801 w 2854520"/>
              <a:gd name="connsiteY9" fmla="*/ 5963732 h 6164592"/>
              <a:gd name="connsiteX10" fmla="*/ 2766015 w 2854520"/>
              <a:gd name="connsiteY10" fmla="*/ 6054820 h 6164592"/>
              <a:gd name="connsiteX11" fmla="*/ 2429356 w 2854520"/>
              <a:gd name="connsiteY11" fmla="*/ 6164592 h 6164592"/>
              <a:gd name="connsiteX12" fmla="*/ 362647 w 2854520"/>
              <a:gd name="connsiteY12" fmla="*/ 6162257 h 6164592"/>
              <a:gd name="connsiteX13" fmla="*/ 103139 w 2854520"/>
              <a:gd name="connsiteY13" fmla="*/ 6078176 h 6164592"/>
              <a:gd name="connsiteX14" fmla="*/ 7285 w 2854520"/>
              <a:gd name="connsiteY14" fmla="*/ 5828268 h 6164592"/>
              <a:gd name="connsiteX15" fmla="*/ 7285 w 2854520"/>
              <a:gd name="connsiteY15" fmla="*/ 3915425 h 6164592"/>
              <a:gd name="connsiteX16" fmla="*/ 7285 w 2854520"/>
              <a:gd name="connsiteY16" fmla="*/ 3214749 h 6164592"/>
              <a:gd name="connsiteX17" fmla="*/ 4947 w 2854520"/>
              <a:gd name="connsiteY17" fmla="*/ 687648 h 6164592"/>
              <a:gd name="connsiteX18" fmla="*/ 2609 w 2854520"/>
              <a:gd name="connsiteY18" fmla="*/ 398035 h 6164592"/>
              <a:gd name="connsiteX19" fmla="*/ 47029 w 2854520"/>
              <a:gd name="connsiteY19" fmla="*/ 152799 h 6164592"/>
              <a:gd name="connsiteX20" fmla="*/ 234062 w 2854520"/>
              <a:gd name="connsiteY20" fmla="*/ 22006 h 6164592"/>
              <a:gd name="connsiteX21" fmla="*/ 545003 w 2854520"/>
              <a:gd name="connsiteY21" fmla="*/ 7993 h 6164592"/>
              <a:gd name="connsiteX22" fmla="*/ 615141 w 2854520"/>
              <a:gd name="connsiteY22" fmla="*/ 85067 h 6164592"/>
              <a:gd name="connsiteX23" fmla="*/ 790484 w 2854520"/>
              <a:gd name="connsiteY23" fmla="*/ 250893 h 6164592"/>
              <a:gd name="connsiteX24" fmla="*/ 2022561 w 2854520"/>
              <a:gd name="connsiteY24" fmla="*/ 250893 h 6164592"/>
              <a:gd name="connsiteX25" fmla="*/ 2195566 w 2854520"/>
              <a:gd name="connsiteY25" fmla="*/ 178490 h 6164592"/>
              <a:gd name="connsiteX26" fmla="*/ 2230634 w 2854520"/>
              <a:gd name="connsiteY26" fmla="*/ 92074 h 6164592"/>
              <a:gd name="connsiteX27" fmla="*/ 2345192 w 2854520"/>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52799 h 6164592"/>
              <a:gd name="connsiteX20" fmla="*/ 234062 w 2860975"/>
              <a:gd name="connsiteY20" fmla="*/ 22006 h 6164592"/>
              <a:gd name="connsiteX21" fmla="*/ 545003 w 2860975"/>
              <a:gd name="connsiteY21" fmla="*/ 7993 h 6164592"/>
              <a:gd name="connsiteX22" fmla="*/ 615141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52799 h 6164592"/>
              <a:gd name="connsiteX20" fmla="*/ 234062 w 2860975"/>
              <a:gd name="connsiteY20" fmla="*/ 22006 h 6164592"/>
              <a:gd name="connsiteX21" fmla="*/ 545003 w 2860975"/>
              <a:gd name="connsiteY21" fmla="*/ 7993 h 6164592"/>
              <a:gd name="connsiteX22" fmla="*/ 615141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52799 h 6164592"/>
              <a:gd name="connsiteX20" fmla="*/ 234062 w 2860975"/>
              <a:gd name="connsiteY20" fmla="*/ 22006 h 6164592"/>
              <a:gd name="connsiteX21" fmla="*/ 545003 w 2860975"/>
              <a:gd name="connsiteY21" fmla="*/ 7993 h 6164592"/>
              <a:gd name="connsiteX22" fmla="*/ 641370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52799 h 6164592"/>
              <a:gd name="connsiteX20" fmla="*/ 234062 w 2860975"/>
              <a:gd name="connsiteY20" fmla="*/ 39492 h 6164592"/>
              <a:gd name="connsiteX21" fmla="*/ 545003 w 2860975"/>
              <a:gd name="connsiteY21" fmla="*/ 7993 h 6164592"/>
              <a:gd name="connsiteX22" fmla="*/ 641370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79028 h 6164592"/>
              <a:gd name="connsiteX20" fmla="*/ 234062 w 2860975"/>
              <a:gd name="connsiteY20" fmla="*/ 39492 h 6164592"/>
              <a:gd name="connsiteX21" fmla="*/ 545003 w 2860975"/>
              <a:gd name="connsiteY21" fmla="*/ 7993 h 6164592"/>
              <a:gd name="connsiteX22" fmla="*/ 641370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79028 h 6164592"/>
              <a:gd name="connsiteX20" fmla="*/ 234062 w 2860975"/>
              <a:gd name="connsiteY20" fmla="*/ 39492 h 6164592"/>
              <a:gd name="connsiteX21" fmla="*/ 545003 w 2860975"/>
              <a:gd name="connsiteY21" fmla="*/ 21107 h 6164592"/>
              <a:gd name="connsiteX22" fmla="*/ 641370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790484 w 2860975"/>
              <a:gd name="connsiteY23" fmla="*/ 242419 h 6156118"/>
              <a:gd name="connsiteX24" fmla="*/ 2022561 w 2860975"/>
              <a:gd name="connsiteY24" fmla="*/ 242419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790484 w 2860975"/>
              <a:gd name="connsiteY23" fmla="*/ 242419 h 6156118"/>
              <a:gd name="connsiteX24" fmla="*/ 2022561 w 2860975"/>
              <a:gd name="connsiteY24" fmla="*/ 242419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790484 w 2860975"/>
              <a:gd name="connsiteY23" fmla="*/ 242419 h 6156118"/>
              <a:gd name="connsiteX24" fmla="*/ 2022561 w 2860975"/>
              <a:gd name="connsiteY24" fmla="*/ 242419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790484 w 2860975"/>
              <a:gd name="connsiteY23" fmla="*/ 242419 h 6156118"/>
              <a:gd name="connsiteX24" fmla="*/ 2022561 w 2860975"/>
              <a:gd name="connsiteY24" fmla="*/ 242419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2561 w 2860975"/>
              <a:gd name="connsiteY24" fmla="*/ 242419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60776 w 2860975"/>
              <a:gd name="connsiteY25" fmla="*/ 163057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60776 w 2860975"/>
              <a:gd name="connsiteY25" fmla="*/ 163057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60776 w 2860975"/>
              <a:gd name="connsiteY25" fmla="*/ 163057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60776 w 2860975"/>
              <a:gd name="connsiteY25" fmla="*/ 163057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60776 w 2860975"/>
              <a:gd name="connsiteY25" fmla="*/ 163057 h 6156118"/>
              <a:gd name="connsiteX26" fmla="*/ 2205413 w 2860975"/>
              <a:gd name="connsiteY26" fmla="*/ 89905 h 6156118"/>
              <a:gd name="connsiteX27" fmla="*/ 2340821 w 2860975"/>
              <a:gd name="connsiteY27" fmla="*/ 5626 h 6156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860975" h="6156118">
                <a:moveTo>
                  <a:pt x="2340821" y="5626"/>
                </a:moveTo>
                <a:cubicBezTo>
                  <a:pt x="2394593" y="10297"/>
                  <a:pt x="2455073" y="-5153"/>
                  <a:pt x="2508845" y="1854"/>
                </a:cubicBezTo>
                <a:cubicBezTo>
                  <a:pt x="2560279" y="6525"/>
                  <a:pt x="2614051" y="11197"/>
                  <a:pt x="2663147" y="27546"/>
                </a:cubicBezTo>
                <a:cubicBezTo>
                  <a:pt x="2749650" y="55573"/>
                  <a:pt x="2805759" y="116298"/>
                  <a:pt x="2829139" y="202714"/>
                </a:cubicBezTo>
                <a:cubicBezTo>
                  <a:pt x="2861869" y="317158"/>
                  <a:pt x="2864207" y="422859"/>
                  <a:pt x="2858618" y="541973"/>
                </a:cubicBezTo>
                <a:cubicBezTo>
                  <a:pt x="2851299" y="627790"/>
                  <a:pt x="2852078" y="698666"/>
                  <a:pt x="2851299" y="804396"/>
                </a:cubicBezTo>
                <a:cubicBezTo>
                  <a:pt x="2850520" y="910126"/>
                  <a:pt x="2851605" y="1050232"/>
                  <a:pt x="2853943" y="1176354"/>
                </a:cubicBezTo>
                <a:cubicBezTo>
                  <a:pt x="2856281" y="1248757"/>
                  <a:pt x="2850807" y="627352"/>
                  <a:pt x="2850180" y="1386856"/>
                </a:cubicBezTo>
                <a:cubicBezTo>
                  <a:pt x="2849553" y="2146360"/>
                  <a:pt x="2850180" y="4284537"/>
                  <a:pt x="2850180" y="5733378"/>
                </a:cubicBezTo>
                <a:cubicBezTo>
                  <a:pt x="2850180" y="5808116"/>
                  <a:pt x="2840828" y="5882855"/>
                  <a:pt x="2826801" y="5955258"/>
                </a:cubicBezTo>
                <a:cubicBezTo>
                  <a:pt x="2819787" y="5987956"/>
                  <a:pt x="2791732" y="6020654"/>
                  <a:pt x="2766015" y="6046346"/>
                </a:cubicBezTo>
                <a:cubicBezTo>
                  <a:pt x="2674837" y="6142105"/>
                  <a:pt x="2555603" y="6156118"/>
                  <a:pt x="2429356" y="6156118"/>
                </a:cubicBezTo>
                <a:lnTo>
                  <a:pt x="362647" y="6153783"/>
                </a:lnTo>
                <a:cubicBezTo>
                  <a:pt x="269130" y="6153783"/>
                  <a:pt x="177952" y="6139769"/>
                  <a:pt x="103139" y="6069702"/>
                </a:cubicBezTo>
                <a:cubicBezTo>
                  <a:pt x="33002" y="6001970"/>
                  <a:pt x="7285" y="5913218"/>
                  <a:pt x="7285" y="5819794"/>
                </a:cubicBezTo>
                <a:cubicBezTo>
                  <a:pt x="4947" y="5182180"/>
                  <a:pt x="7285" y="4544565"/>
                  <a:pt x="7285" y="3906951"/>
                </a:cubicBezTo>
                <a:lnTo>
                  <a:pt x="7285" y="3206275"/>
                </a:lnTo>
                <a:cubicBezTo>
                  <a:pt x="7285" y="2363130"/>
                  <a:pt x="7285" y="1522319"/>
                  <a:pt x="4947" y="679174"/>
                </a:cubicBezTo>
                <a:cubicBezTo>
                  <a:pt x="4947" y="583415"/>
                  <a:pt x="-4405" y="485320"/>
                  <a:pt x="2609" y="389561"/>
                </a:cubicBezTo>
                <a:cubicBezTo>
                  <a:pt x="7285" y="307816"/>
                  <a:pt x="23650" y="249964"/>
                  <a:pt x="47029" y="170554"/>
                </a:cubicBezTo>
                <a:cubicBezTo>
                  <a:pt x="75084" y="84137"/>
                  <a:pt x="151066" y="57338"/>
                  <a:pt x="234062" y="31018"/>
                </a:cubicBezTo>
                <a:cubicBezTo>
                  <a:pt x="317058" y="4698"/>
                  <a:pt x="477118" y="5037"/>
                  <a:pt x="545003" y="12633"/>
                </a:cubicBezTo>
                <a:cubicBezTo>
                  <a:pt x="612888" y="20229"/>
                  <a:pt x="636694" y="29881"/>
                  <a:pt x="641370" y="76593"/>
                </a:cubicBezTo>
                <a:cubicBezTo>
                  <a:pt x="687972" y="205752"/>
                  <a:pt x="791992" y="193111"/>
                  <a:pt x="853104" y="193715"/>
                </a:cubicBezTo>
                <a:lnTo>
                  <a:pt x="2029518" y="193715"/>
                </a:lnTo>
                <a:cubicBezTo>
                  <a:pt x="2064606" y="188605"/>
                  <a:pt x="2108420" y="181980"/>
                  <a:pt x="2160776" y="163057"/>
                </a:cubicBezTo>
                <a:cubicBezTo>
                  <a:pt x="2179479" y="137366"/>
                  <a:pt x="2200737" y="120267"/>
                  <a:pt x="2205413" y="89905"/>
                </a:cubicBezTo>
                <a:cubicBezTo>
                  <a:pt x="2217103" y="22173"/>
                  <a:pt x="2251164" y="11733"/>
                  <a:pt x="2340821" y="5626"/>
                </a:cubicBezTo>
                <a:close/>
              </a:path>
            </a:pathLst>
          </a:custGeom>
          <a:blipFill>
            <a:blip r:embed="rId4"/>
            <a:stretch>
              <a:fillRect l="-121001" r="-138446" b="-5101"/>
            </a:stretch>
          </a:blipFill>
        </p:spPr>
        <p:txBody>
          <a:bodyPr wrap="square" anchor="ctr" anchorCtr="1">
            <a:noAutofit/>
          </a:bodyPr>
          <a:lstStyle>
            <a:lvl1pPr marL="0" indent="0">
              <a:buNone/>
              <a:defRPr/>
            </a:lvl1pPr>
          </a:lstStyle>
          <a:p>
            <a:endParaRPr lang="en-US"/>
          </a:p>
        </p:txBody>
      </p:sp>
      <p:sp>
        <p:nvSpPr>
          <p:cNvPr id="62" name="Picture Placeholder 3">
            <a:extLst>
              <a:ext uri="{FF2B5EF4-FFF2-40B4-BE49-F238E27FC236}">
                <a16:creationId xmlns:a16="http://schemas.microsoft.com/office/drawing/2014/main" id="{9BEBD489-947D-2845-B0BC-6B64FED5BB7D}"/>
              </a:ext>
            </a:extLst>
          </p:cNvPr>
          <p:cNvSpPr>
            <a:spLocks noGrp="1" noChangeAspect="1"/>
          </p:cNvSpPr>
          <p:nvPr>
            <p:ph type="pic" sz="quarter" idx="14"/>
          </p:nvPr>
        </p:nvSpPr>
        <p:spPr>
          <a:xfrm>
            <a:off x="10382261" y="5497154"/>
            <a:ext cx="1440599" cy="3099816"/>
          </a:xfrm>
          <a:custGeom>
            <a:avLst/>
            <a:gdLst>
              <a:gd name="connsiteX0" fmla="*/ 2345192 w 2857253"/>
              <a:gd name="connsiteY0" fmla="*/ 986 h 6164592"/>
              <a:gd name="connsiteX1" fmla="*/ 2508845 w 2857253"/>
              <a:gd name="connsiteY1" fmla="*/ 10328 h 6164592"/>
              <a:gd name="connsiteX2" fmla="*/ 2663147 w 2857253"/>
              <a:gd name="connsiteY2" fmla="*/ 36020 h 6164592"/>
              <a:gd name="connsiteX3" fmla="*/ 2829139 w 2857253"/>
              <a:gd name="connsiteY3" fmla="*/ 211188 h 6164592"/>
              <a:gd name="connsiteX4" fmla="*/ 2845504 w 2857253"/>
              <a:gd name="connsiteY4" fmla="*/ 559190 h 6164592"/>
              <a:gd name="connsiteX5" fmla="*/ 2833814 w 2857253"/>
              <a:gd name="connsiteY5" fmla="*/ 799756 h 6164592"/>
              <a:gd name="connsiteX6" fmla="*/ 2840828 w 2857253"/>
              <a:gd name="connsiteY6" fmla="*/ 1180456 h 6164592"/>
              <a:gd name="connsiteX7" fmla="*/ 2850180 w 2857253"/>
              <a:gd name="connsiteY7" fmla="*/ 1395330 h 6164592"/>
              <a:gd name="connsiteX8" fmla="*/ 2850180 w 2857253"/>
              <a:gd name="connsiteY8" fmla="*/ 5741852 h 6164592"/>
              <a:gd name="connsiteX9" fmla="*/ 2826801 w 2857253"/>
              <a:gd name="connsiteY9" fmla="*/ 5963732 h 6164592"/>
              <a:gd name="connsiteX10" fmla="*/ 2766015 w 2857253"/>
              <a:gd name="connsiteY10" fmla="*/ 6054820 h 6164592"/>
              <a:gd name="connsiteX11" fmla="*/ 2429356 w 2857253"/>
              <a:gd name="connsiteY11" fmla="*/ 6164592 h 6164592"/>
              <a:gd name="connsiteX12" fmla="*/ 362647 w 2857253"/>
              <a:gd name="connsiteY12" fmla="*/ 6162257 h 6164592"/>
              <a:gd name="connsiteX13" fmla="*/ 103139 w 2857253"/>
              <a:gd name="connsiteY13" fmla="*/ 6078176 h 6164592"/>
              <a:gd name="connsiteX14" fmla="*/ 7285 w 2857253"/>
              <a:gd name="connsiteY14" fmla="*/ 5828268 h 6164592"/>
              <a:gd name="connsiteX15" fmla="*/ 7285 w 2857253"/>
              <a:gd name="connsiteY15" fmla="*/ 3915425 h 6164592"/>
              <a:gd name="connsiteX16" fmla="*/ 7285 w 2857253"/>
              <a:gd name="connsiteY16" fmla="*/ 3214749 h 6164592"/>
              <a:gd name="connsiteX17" fmla="*/ 4947 w 2857253"/>
              <a:gd name="connsiteY17" fmla="*/ 687648 h 6164592"/>
              <a:gd name="connsiteX18" fmla="*/ 2609 w 2857253"/>
              <a:gd name="connsiteY18" fmla="*/ 398035 h 6164592"/>
              <a:gd name="connsiteX19" fmla="*/ 47029 w 2857253"/>
              <a:gd name="connsiteY19" fmla="*/ 152799 h 6164592"/>
              <a:gd name="connsiteX20" fmla="*/ 234062 w 2857253"/>
              <a:gd name="connsiteY20" fmla="*/ 22006 h 6164592"/>
              <a:gd name="connsiteX21" fmla="*/ 545003 w 2857253"/>
              <a:gd name="connsiteY21" fmla="*/ 7993 h 6164592"/>
              <a:gd name="connsiteX22" fmla="*/ 615141 w 2857253"/>
              <a:gd name="connsiteY22" fmla="*/ 85067 h 6164592"/>
              <a:gd name="connsiteX23" fmla="*/ 790484 w 2857253"/>
              <a:gd name="connsiteY23" fmla="*/ 250893 h 6164592"/>
              <a:gd name="connsiteX24" fmla="*/ 2022561 w 2857253"/>
              <a:gd name="connsiteY24" fmla="*/ 250893 h 6164592"/>
              <a:gd name="connsiteX25" fmla="*/ 2195566 w 2857253"/>
              <a:gd name="connsiteY25" fmla="*/ 178490 h 6164592"/>
              <a:gd name="connsiteX26" fmla="*/ 2230634 w 2857253"/>
              <a:gd name="connsiteY26" fmla="*/ 92074 h 6164592"/>
              <a:gd name="connsiteX27" fmla="*/ 2345192 w 2857253"/>
              <a:gd name="connsiteY27" fmla="*/ 986 h 6164592"/>
              <a:gd name="connsiteX0" fmla="*/ 2345192 w 2857253"/>
              <a:gd name="connsiteY0" fmla="*/ 986 h 6164592"/>
              <a:gd name="connsiteX1" fmla="*/ 2508845 w 2857253"/>
              <a:gd name="connsiteY1" fmla="*/ 10328 h 6164592"/>
              <a:gd name="connsiteX2" fmla="*/ 2663147 w 2857253"/>
              <a:gd name="connsiteY2" fmla="*/ 36020 h 6164592"/>
              <a:gd name="connsiteX3" fmla="*/ 2829139 w 2857253"/>
              <a:gd name="connsiteY3" fmla="*/ 211188 h 6164592"/>
              <a:gd name="connsiteX4" fmla="*/ 2845504 w 2857253"/>
              <a:gd name="connsiteY4" fmla="*/ 554819 h 6164592"/>
              <a:gd name="connsiteX5" fmla="*/ 2833814 w 2857253"/>
              <a:gd name="connsiteY5" fmla="*/ 799756 h 6164592"/>
              <a:gd name="connsiteX6" fmla="*/ 2840828 w 2857253"/>
              <a:gd name="connsiteY6" fmla="*/ 1180456 h 6164592"/>
              <a:gd name="connsiteX7" fmla="*/ 2850180 w 2857253"/>
              <a:gd name="connsiteY7" fmla="*/ 1395330 h 6164592"/>
              <a:gd name="connsiteX8" fmla="*/ 2850180 w 2857253"/>
              <a:gd name="connsiteY8" fmla="*/ 5741852 h 6164592"/>
              <a:gd name="connsiteX9" fmla="*/ 2826801 w 2857253"/>
              <a:gd name="connsiteY9" fmla="*/ 5963732 h 6164592"/>
              <a:gd name="connsiteX10" fmla="*/ 2766015 w 2857253"/>
              <a:gd name="connsiteY10" fmla="*/ 6054820 h 6164592"/>
              <a:gd name="connsiteX11" fmla="*/ 2429356 w 2857253"/>
              <a:gd name="connsiteY11" fmla="*/ 6164592 h 6164592"/>
              <a:gd name="connsiteX12" fmla="*/ 362647 w 2857253"/>
              <a:gd name="connsiteY12" fmla="*/ 6162257 h 6164592"/>
              <a:gd name="connsiteX13" fmla="*/ 103139 w 2857253"/>
              <a:gd name="connsiteY13" fmla="*/ 6078176 h 6164592"/>
              <a:gd name="connsiteX14" fmla="*/ 7285 w 2857253"/>
              <a:gd name="connsiteY14" fmla="*/ 5828268 h 6164592"/>
              <a:gd name="connsiteX15" fmla="*/ 7285 w 2857253"/>
              <a:gd name="connsiteY15" fmla="*/ 3915425 h 6164592"/>
              <a:gd name="connsiteX16" fmla="*/ 7285 w 2857253"/>
              <a:gd name="connsiteY16" fmla="*/ 3214749 h 6164592"/>
              <a:gd name="connsiteX17" fmla="*/ 4947 w 2857253"/>
              <a:gd name="connsiteY17" fmla="*/ 687648 h 6164592"/>
              <a:gd name="connsiteX18" fmla="*/ 2609 w 2857253"/>
              <a:gd name="connsiteY18" fmla="*/ 398035 h 6164592"/>
              <a:gd name="connsiteX19" fmla="*/ 47029 w 2857253"/>
              <a:gd name="connsiteY19" fmla="*/ 152799 h 6164592"/>
              <a:gd name="connsiteX20" fmla="*/ 234062 w 2857253"/>
              <a:gd name="connsiteY20" fmla="*/ 22006 h 6164592"/>
              <a:gd name="connsiteX21" fmla="*/ 545003 w 2857253"/>
              <a:gd name="connsiteY21" fmla="*/ 7993 h 6164592"/>
              <a:gd name="connsiteX22" fmla="*/ 615141 w 2857253"/>
              <a:gd name="connsiteY22" fmla="*/ 85067 h 6164592"/>
              <a:gd name="connsiteX23" fmla="*/ 790484 w 2857253"/>
              <a:gd name="connsiteY23" fmla="*/ 250893 h 6164592"/>
              <a:gd name="connsiteX24" fmla="*/ 2022561 w 2857253"/>
              <a:gd name="connsiteY24" fmla="*/ 250893 h 6164592"/>
              <a:gd name="connsiteX25" fmla="*/ 2195566 w 2857253"/>
              <a:gd name="connsiteY25" fmla="*/ 178490 h 6164592"/>
              <a:gd name="connsiteX26" fmla="*/ 2230634 w 2857253"/>
              <a:gd name="connsiteY26" fmla="*/ 92074 h 6164592"/>
              <a:gd name="connsiteX27" fmla="*/ 2345192 w 2857253"/>
              <a:gd name="connsiteY27" fmla="*/ 986 h 6164592"/>
              <a:gd name="connsiteX0" fmla="*/ 2345192 w 2857253"/>
              <a:gd name="connsiteY0" fmla="*/ 986 h 6164592"/>
              <a:gd name="connsiteX1" fmla="*/ 2508845 w 2857253"/>
              <a:gd name="connsiteY1" fmla="*/ 10328 h 6164592"/>
              <a:gd name="connsiteX2" fmla="*/ 2663147 w 2857253"/>
              <a:gd name="connsiteY2" fmla="*/ 36020 h 6164592"/>
              <a:gd name="connsiteX3" fmla="*/ 2829139 w 2857253"/>
              <a:gd name="connsiteY3" fmla="*/ 211188 h 6164592"/>
              <a:gd name="connsiteX4" fmla="*/ 2845504 w 2857253"/>
              <a:gd name="connsiteY4" fmla="*/ 554819 h 6164592"/>
              <a:gd name="connsiteX5" fmla="*/ 2851299 w 2857253"/>
              <a:gd name="connsiteY5" fmla="*/ 812870 h 6164592"/>
              <a:gd name="connsiteX6" fmla="*/ 2840828 w 2857253"/>
              <a:gd name="connsiteY6" fmla="*/ 1180456 h 6164592"/>
              <a:gd name="connsiteX7" fmla="*/ 2850180 w 2857253"/>
              <a:gd name="connsiteY7" fmla="*/ 1395330 h 6164592"/>
              <a:gd name="connsiteX8" fmla="*/ 2850180 w 2857253"/>
              <a:gd name="connsiteY8" fmla="*/ 5741852 h 6164592"/>
              <a:gd name="connsiteX9" fmla="*/ 2826801 w 2857253"/>
              <a:gd name="connsiteY9" fmla="*/ 5963732 h 6164592"/>
              <a:gd name="connsiteX10" fmla="*/ 2766015 w 2857253"/>
              <a:gd name="connsiteY10" fmla="*/ 6054820 h 6164592"/>
              <a:gd name="connsiteX11" fmla="*/ 2429356 w 2857253"/>
              <a:gd name="connsiteY11" fmla="*/ 6164592 h 6164592"/>
              <a:gd name="connsiteX12" fmla="*/ 362647 w 2857253"/>
              <a:gd name="connsiteY12" fmla="*/ 6162257 h 6164592"/>
              <a:gd name="connsiteX13" fmla="*/ 103139 w 2857253"/>
              <a:gd name="connsiteY13" fmla="*/ 6078176 h 6164592"/>
              <a:gd name="connsiteX14" fmla="*/ 7285 w 2857253"/>
              <a:gd name="connsiteY14" fmla="*/ 5828268 h 6164592"/>
              <a:gd name="connsiteX15" fmla="*/ 7285 w 2857253"/>
              <a:gd name="connsiteY15" fmla="*/ 3915425 h 6164592"/>
              <a:gd name="connsiteX16" fmla="*/ 7285 w 2857253"/>
              <a:gd name="connsiteY16" fmla="*/ 3214749 h 6164592"/>
              <a:gd name="connsiteX17" fmla="*/ 4947 w 2857253"/>
              <a:gd name="connsiteY17" fmla="*/ 687648 h 6164592"/>
              <a:gd name="connsiteX18" fmla="*/ 2609 w 2857253"/>
              <a:gd name="connsiteY18" fmla="*/ 398035 h 6164592"/>
              <a:gd name="connsiteX19" fmla="*/ 47029 w 2857253"/>
              <a:gd name="connsiteY19" fmla="*/ 152799 h 6164592"/>
              <a:gd name="connsiteX20" fmla="*/ 234062 w 2857253"/>
              <a:gd name="connsiteY20" fmla="*/ 22006 h 6164592"/>
              <a:gd name="connsiteX21" fmla="*/ 545003 w 2857253"/>
              <a:gd name="connsiteY21" fmla="*/ 7993 h 6164592"/>
              <a:gd name="connsiteX22" fmla="*/ 615141 w 2857253"/>
              <a:gd name="connsiteY22" fmla="*/ 85067 h 6164592"/>
              <a:gd name="connsiteX23" fmla="*/ 790484 w 2857253"/>
              <a:gd name="connsiteY23" fmla="*/ 250893 h 6164592"/>
              <a:gd name="connsiteX24" fmla="*/ 2022561 w 2857253"/>
              <a:gd name="connsiteY24" fmla="*/ 250893 h 6164592"/>
              <a:gd name="connsiteX25" fmla="*/ 2195566 w 2857253"/>
              <a:gd name="connsiteY25" fmla="*/ 178490 h 6164592"/>
              <a:gd name="connsiteX26" fmla="*/ 2230634 w 2857253"/>
              <a:gd name="connsiteY26" fmla="*/ 92074 h 6164592"/>
              <a:gd name="connsiteX27" fmla="*/ 2345192 w 2857253"/>
              <a:gd name="connsiteY27" fmla="*/ 986 h 6164592"/>
              <a:gd name="connsiteX0" fmla="*/ 2345192 w 2857253"/>
              <a:gd name="connsiteY0" fmla="*/ 986 h 6164592"/>
              <a:gd name="connsiteX1" fmla="*/ 2508845 w 2857253"/>
              <a:gd name="connsiteY1" fmla="*/ 10328 h 6164592"/>
              <a:gd name="connsiteX2" fmla="*/ 2663147 w 2857253"/>
              <a:gd name="connsiteY2" fmla="*/ 36020 h 6164592"/>
              <a:gd name="connsiteX3" fmla="*/ 2829139 w 2857253"/>
              <a:gd name="connsiteY3" fmla="*/ 211188 h 6164592"/>
              <a:gd name="connsiteX4" fmla="*/ 2845504 w 2857253"/>
              <a:gd name="connsiteY4" fmla="*/ 554819 h 6164592"/>
              <a:gd name="connsiteX5" fmla="*/ 2851299 w 2857253"/>
              <a:gd name="connsiteY5" fmla="*/ 812870 h 6164592"/>
              <a:gd name="connsiteX6" fmla="*/ 2853943 w 2857253"/>
              <a:gd name="connsiteY6" fmla="*/ 1184828 h 6164592"/>
              <a:gd name="connsiteX7" fmla="*/ 2850180 w 2857253"/>
              <a:gd name="connsiteY7" fmla="*/ 1395330 h 6164592"/>
              <a:gd name="connsiteX8" fmla="*/ 2850180 w 2857253"/>
              <a:gd name="connsiteY8" fmla="*/ 5741852 h 6164592"/>
              <a:gd name="connsiteX9" fmla="*/ 2826801 w 2857253"/>
              <a:gd name="connsiteY9" fmla="*/ 5963732 h 6164592"/>
              <a:gd name="connsiteX10" fmla="*/ 2766015 w 2857253"/>
              <a:gd name="connsiteY10" fmla="*/ 6054820 h 6164592"/>
              <a:gd name="connsiteX11" fmla="*/ 2429356 w 2857253"/>
              <a:gd name="connsiteY11" fmla="*/ 6164592 h 6164592"/>
              <a:gd name="connsiteX12" fmla="*/ 362647 w 2857253"/>
              <a:gd name="connsiteY12" fmla="*/ 6162257 h 6164592"/>
              <a:gd name="connsiteX13" fmla="*/ 103139 w 2857253"/>
              <a:gd name="connsiteY13" fmla="*/ 6078176 h 6164592"/>
              <a:gd name="connsiteX14" fmla="*/ 7285 w 2857253"/>
              <a:gd name="connsiteY14" fmla="*/ 5828268 h 6164592"/>
              <a:gd name="connsiteX15" fmla="*/ 7285 w 2857253"/>
              <a:gd name="connsiteY15" fmla="*/ 3915425 h 6164592"/>
              <a:gd name="connsiteX16" fmla="*/ 7285 w 2857253"/>
              <a:gd name="connsiteY16" fmla="*/ 3214749 h 6164592"/>
              <a:gd name="connsiteX17" fmla="*/ 4947 w 2857253"/>
              <a:gd name="connsiteY17" fmla="*/ 687648 h 6164592"/>
              <a:gd name="connsiteX18" fmla="*/ 2609 w 2857253"/>
              <a:gd name="connsiteY18" fmla="*/ 398035 h 6164592"/>
              <a:gd name="connsiteX19" fmla="*/ 47029 w 2857253"/>
              <a:gd name="connsiteY19" fmla="*/ 152799 h 6164592"/>
              <a:gd name="connsiteX20" fmla="*/ 234062 w 2857253"/>
              <a:gd name="connsiteY20" fmla="*/ 22006 h 6164592"/>
              <a:gd name="connsiteX21" fmla="*/ 545003 w 2857253"/>
              <a:gd name="connsiteY21" fmla="*/ 7993 h 6164592"/>
              <a:gd name="connsiteX22" fmla="*/ 615141 w 2857253"/>
              <a:gd name="connsiteY22" fmla="*/ 85067 h 6164592"/>
              <a:gd name="connsiteX23" fmla="*/ 790484 w 2857253"/>
              <a:gd name="connsiteY23" fmla="*/ 250893 h 6164592"/>
              <a:gd name="connsiteX24" fmla="*/ 2022561 w 2857253"/>
              <a:gd name="connsiteY24" fmla="*/ 250893 h 6164592"/>
              <a:gd name="connsiteX25" fmla="*/ 2195566 w 2857253"/>
              <a:gd name="connsiteY25" fmla="*/ 178490 h 6164592"/>
              <a:gd name="connsiteX26" fmla="*/ 2230634 w 2857253"/>
              <a:gd name="connsiteY26" fmla="*/ 92074 h 6164592"/>
              <a:gd name="connsiteX27" fmla="*/ 2345192 w 2857253"/>
              <a:gd name="connsiteY27" fmla="*/ 986 h 6164592"/>
              <a:gd name="connsiteX0" fmla="*/ 2345192 w 2860168"/>
              <a:gd name="connsiteY0" fmla="*/ 986 h 6164592"/>
              <a:gd name="connsiteX1" fmla="*/ 2508845 w 2860168"/>
              <a:gd name="connsiteY1" fmla="*/ 10328 h 6164592"/>
              <a:gd name="connsiteX2" fmla="*/ 2663147 w 2860168"/>
              <a:gd name="connsiteY2" fmla="*/ 36020 h 6164592"/>
              <a:gd name="connsiteX3" fmla="*/ 2829139 w 2860168"/>
              <a:gd name="connsiteY3" fmla="*/ 211188 h 6164592"/>
              <a:gd name="connsiteX4" fmla="*/ 2849875 w 2860168"/>
              <a:gd name="connsiteY4" fmla="*/ 554819 h 6164592"/>
              <a:gd name="connsiteX5" fmla="*/ 2851299 w 2860168"/>
              <a:gd name="connsiteY5" fmla="*/ 812870 h 6164592"/>
              <a:gd name="connsiteX6" fmla="*/ 2853943 w 2860168"/>
              <a:gd name="connsiteY6" fmla="*/ 1184828 h 6164592"/>
              <a:gd name="connsiteX7" fmla="*/ 2850180 w 2860168"/>
              <a:gd name="connsiteY7" fmla="*/ 1395330 h 6164592"/>
              <a:gd name="connsiteX8" fmla="*/ 2850180 w 2860168"/>
              <a:gd name="connsiteY8" fmla="*/ 5741852 h 6164592"/>
              <a:gd name="connsiteX9" fmla="*/ 2826801 w 2860168"/>
              <a:gd name="connsiteY9" fmla="*/ 5963732 h 6164592"/>
              <a:gd name="connsiteX10" fmla="*/ 2766015 w 2860168"/>
              <a:gd name="connsiteY10" fmla="*/ 6054820 h 6164592"/>
              <a:gd name="connsiteX11" fmla="*/ 2429356 w 2860168"/>
              <a:gd name="connsiteY11" fmla="*/ 6164592 h 6164592"/>
              <a:gd name="connsiteX12" fmla="*/ 362647 w 2860168"/>
              <a:gd name="connsiteY12" fmla="*/ 6162257 h 6164592"/>
              <a:gd name="connsiteX13" fmla="*/ 103139 w 2860168"/>
              <a:gd name="connsiteY13" fmla="*/ 6078176 h 6164592"/>
              <a:gd name="connsiteX14" fmla="*/ 7285 w 2860168"/>
              <a:gd name="connsiteY14" fmla="*/ 5828268 h 6164592"/>
              <a:gd name="connsiteX15" fmla="*/ 7285 w 2860168"/>
              <a:gd name="connsiteY15" fmla="*/ 3915425 h 6164592"/>
              <a:gd name="connsiteX16" fmla="*/ 7285 w 2860168"/>
              <a:gd name="connsiteY16" fmla="*/ 3214749 h 6164592"/>
              <a:gd name="connsiteX17" fmla="*/ 4947 w 2860168"/>
              <a:gd name="connsiteY17" fmla="*/ 687648 h 6164592"/>
              <a:gd name="connsiteX18" fmla="*/ 2609 w 2860168"/>
              <a:gd name="connsiteY18" fmla="*/ 398035 h 6164592"/>
              <a:gd name="connsiteX19" fmla="*/ 47029 w 2860168"/>
              <a:gd name="connsiteY19" fmla="*/ 152799 h 6164592"/>
              <a:gd name="connsiteX20" fmla="*/ 234062 w 2860168"/>
              <a:gd name="connsiteY20" fmla="*/ 22006 h 6164592"/>
              <a:gd name="connsiteX21" fmla="*/ 545003 w 2860168"/>
              <a:gd name="connsiteY21" fmla="*/ 7993 h 6164592"/>
              <a:gd name="connsiteX22" fmla="*/ 615141 w 2860168"/>
              <a:gd name="connsiteY22" fmla="*/ 85067 h 6164592"/>
              <a:gd name="connsiteX23" fmla="*/ 790484 w 2860168"/>
              <a:gd name="connsiteY23" fmla="*/ 250893 h 6164592"/>
              <a:gd name="connsiteX24" fmla="*/ 2022561 w 2860168"/>
              <a:gd name="connsiteY24" fmla="*/ 250893 h 6164592"/>
              <a:gd name="connsiteX25" fmla="*/ 2195566 w 2860168"/>
              <a:gd name="connsiteY25" fmla="*/ 178490 h 6164592"/>
              <a:gd name="connsiteX26" fmla="*/ 2230634 w 2860168"/>
              <a:gd name="connsiteY26" fmla="*/ 92074 h 6164592"/>
              <a:gd name="connsiteX27" fmla="*/ 2345192 w 2860168"/>
              <a:gd name="connsiteY27" fmla="*/ 986 h 6164592"/>
              <a:gd name="connsiteX0" fmla="*/ 2345192 w 2854520"/>
              <a:gd name="connsiteY0" fmla="*/ 986 h 6164592"/>
              <a:gd name="connsiteX1" fmla="*/ 2508845 w 2854520"/>
              <a:gd name="connsiteY1" fmla="*/ 10328 h 6164592"/>
              <a:gd name="connsiteX2" fmla="*/ 2663147 w 2854520"/>
              <a:gd name="connsiteY2" fmla="*/ 36020 h 6164592"/>
              <a:gd name="connsiteX3" fmla="*/ 2829139 w 2854520"/>
              <a:gd name="connsiteY3" fmla="*/ 211188 h 6164592"/>
              <a:gd name="connsiteX4" fmla="*/ 2849875 w 2854520"/>
              <a:gd name="connsiteY4" fmla="*/ 554819 h 6164592"/>
              <a:gd name="connsiteX5" fmla="*/ 2851299 w 2854520"/>
              <a:gd name="connsiteY5" fmla="*/ 812870 h 6164592"/>
              <a:gd name="connsiteX6" fmla="*/ 2853943 w 2854520"/>
              <a:gd name="connsiteY6" fmla="*/ 1184828 h 6164592"/>
              <a:gd name="connsiteX7" fmla="*/ 2850180 w 2854520"/>
              <a:gd name="connsiteY7" fmla="*/ 1395330 h 6164592"/>
              <a:gd name="connsiteX8" fmla="*/ 2850180 w 2854520"/>
              <a:gd name="connsiteY8" fmla="*/ 5741852 h 6164592"/>
              <a:gd name="connsiteX9" fmla="*/ 2826801 w 2854520"/>
              <a:gd name="connsiteY9" fmla="*/ 5963732 h 6164592"/>
              <a:gd name="connsiteX10" fmla="*/ 2766015 w 2854520"/>
              <a:gd name="connsiteY10" fmla="*/ 6054820 h 6164592"/>
              <a:gd name="connsiteX11" fmla="*/ 2429356 w 2854520"/>
              <a:gd name="connsiteY11" fmla="*/ 6164592 h 6164592"/>
              <a:gd name="connsiteX12" fmla="*/ 362647 w 2854520"/>
              <a:gd name="connsiteY12" fmla="*/ 6162257 h 6164592"/>
              <a:gd name="connsiteX13" fmla="*/ 103139 w 2854520"/>
              <a:gd name="connsiteY13" fmla="*/ 6078176 h 6164592"/>
              <a:gd name="connsiteX14" fmla="*/ 7285 w 2854520"/>
              <a:gd name="connsiteY14" fmla="*/ 5828268 h 6164592"/>
              <a:gd name="connsiteX15" fmla="*/ 7285 w 2854520"/>
              <a:gd name="connsiteY15" fmla="*/ 3915425 h 6164592"/>
              <a:gd name="connsiteX16" fmla="*/ 7285 w 2854520"/>
              <a:gd name="connsiteY16" fmla="*/ 3214749 h 6164592"/>
              <a:gd name="connsiteX17" fmla="*/ 4947 w 2854520"/>
              <a:gd name="connsiteY17" fmla="*/ 687648 h 6164592"/>
              <a:gd name="connsiteX18" fmla="*/ 2609 w 2854520"/>
              <a:gd name="connsiteY18" fmla="*/ 398035 h 6164592"/>
              <a:gd name="connsiteX19" fmla="*/ 47029 w 2854520"/>
              <a:gd name="connsiteY19" fmla="*/ 152799 h 6164592"/>
              <a:gd name="connsiteX20" fmla="*/ 234062 w 2854520"/>
              <a:gd name="connsiteY20" fmla="*/ 22006 h 6164592"/>
              <a:gd name="connsiteX21" fmla="*/ 545003 w 2854520"/>
              <a:gd name="connsiteY21" fmla="*/ 7993 h 6164592"/>
              <a:gd name="connsiteX22" fmla="*/ 615141 w 2854520"/>
              <a:gd name="connsiteY22" fmla="*/ 85067 h 6164592"/>
              <a:gd name="connsiteX23" fmla="*/ 790484 w 2854520"/>
              <a:gd name="connsiteY23" fmla="*/ 250893 h 6164592"/>
              <a:gd name="connsiteX24" fmla="*/ 2022561 w 2854520"/>
              <a:gd name="connsiteY24" fmla="*/ 250893 h 6164592"/>
              <a:gd name="connsiteX25" fmla="*/ 2195566 w 2854520"/>
              <a:gd name="connsiteY25" fmla="*/ 178490 h 6164592"/>
              <a:gd name="connsiteX26" fmla="*/ 2230634 w 2854520"/>
              <a:gd name="connsiteY26" fmla="*/ 92074 h 6164592"/>
              <a:gd name="connsiteX27" fmla="*/ 2345192 w 2854520"/>
              <a:gd name="connsiteY27" fmla="*/ 986 h 6164592"/>
              <a:gd name="connsiteX0" fmla="*/ 2345192 w 2854520"/>
              <a:gd name="connsiteY0" fmla="*/ 986 h 6164592"/>
              <a:gd name="connsiteX1" fmla="*/ 2508845 w 2854520"/>
              <a:gd name="connsiteY1" fmla="*/ 10328 h 6164592"/>
              <a:gd name="connsiteX2" fmla="*/ 2663147 w 2854520"/>
              <a:gd name="connsiteY2" fmla="*/ 36020 h 6164592"/>
              <a:gd name="connsiteX3" fmla="*/ 2829139 w 2854520"/>
              <a:gd name="connsiteY3" fmla="*/ 211188 h 6164592"/>
              <a:gd name="connsiteX4" fmla="*/ 2849875 w 2854520"/>
              <a:gd name="connsiteY4" fmla="*/ 554819 h 6164592"/>
              <a:gd name="connsiteX5" fmla="*/ 2851299 w 2854520"/>
              <a:gd name="connsiteY5" fmla="*/ 812870 h 6164592"/>
              <a:gd name="connsiteX6" fmla="*/ 2853943 w 2854520"/>
              <a:gd name="connsiteY6" fmla="*/ 1184828 h 6164592"/>
              <a:gd name="connsiteX7" fmla="*/ 2850180 w 2854520"/>
              <a:gd name="connsiteY7" fmla="*/ 1395330 h 6164592"/>
              <a:gd name="connsiteX8" fmla="*/ 2850180 w 2854520"/>
              <a:gd name="connsiteY8" fmla="*/ 5741852 h 6164592"/>
              <a:gd name="connsiteX9" fmla="*/ 2826801 w 2854520"/>
              <a:gd name="connsiteY9" fmla="*/ 5963732 h 6164592"/>
              <a:gd name="connsiteX10" fmla="*/ 2766015 w 2854520"/>
              <a:gd name="connsiteY10" fmla="*/ 6054820 h 6164592"/>
              <a:gd name="connsiteX11" fmla="*/ 2429356 w 2854520"/>
              <a:gd name="connsiteY11" fmla="*/ 6164592 h 6164592"/>
              <a:gd name="connsiteX12" fmla="*/ 362647 w 2854520"/>
              <a:gd name="connsiteY12" fmla="*/ 6162257 h 6164592"/>
              <a:gd name="connsiteX13" fmla="*/ 103139 w 2854520"/>
              <a:gd name="connsiteY13" fmla="*/ 6078176 h 6164592"/>
              <a:gd name="connsiteX14" fmla="*/ 7285 w 2854520"/>
              <a:gd name="connsiteY14" fmla="*/ 5828268 h 6164592"/>
              <a:gd name="connsiteX15" fmla="*/ 7285 w 2854520"/>
              <a:gd name="connsiteY15" fmla="*/ 3915425 h 6164592"/>
              <a:gd name="connsiteX16" fmla="*/ 7285 w 2854520"/>
              <a:gd name="connsiteY16" fmla="*/ 3214749 h 6164592"/>
              <a:gd name="connsiteX17" fmla="*/ 4947 w 2854520"/>
              <a:gd name="connsiteY17" fmla="*/ 687648 h 6164592"/>
              <a:gd name="connsiteX18" fmla="*/ 2609 w 2854520"/>
              <a:gd name="connsiteY18" fmla="*/ 398035 h 6164592"/>
              <a:gd name="connsiteX19" fmla="*/ 47029 w 2854520"/>
              <a:gd name="connsiteY19" fmla="*/ 152799 h 6164592"/>
              <a:gd name="connsiteX20" fmla="*/ 234062 w 2854520"/>
              <a:gd name="connsiteY20" fmla="*/ 22006 h 6164592"/>
              <a:gd name="connsiteX21" fmla="*/ 545003 w 2854520"/>
              <a:gd name="connsiteY21" fmla="*/ 7993 h 6164592"/>
              <a:gd name="connsiteX22" fmla="*/ 615141 w 2854520"/>
              <a:gd name="connsiteY22" fmla="*/ 85067 h 6164592"/>
              <a:gd name="connsiteX23" fmla="*/ 790484 w 2854520"/>
              <a:gd name="connsiteY23" fmla="*/ 250893 h 6164592"/>
              <a:gd name="connsiteX24" fmla="*/ 2022561 w 2854520"/>
              <a:gd name="connsiteY24" fmla="*/ 250893 h 6164592"/>
              <a:gd name="connsiteX25" fmla="*/ 2195566 w 2854520"/>
              <a:gd name="connsiteY25" fmla="*/ 178490 h 6164592"/>
              <a:gd name="connsiteX26" fmla="*/ 2230634 w 2854520"/>
              <a:gd name="connsiteY26" fmla="*/ 92074 h 6164592"/>
              <a:gd name="connsiteX27" fmla="*/ 2345192 w 2854520"/>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52799 h 6164592"/>
              <a:gd name="connsiteX20" fmla="*/ 234062 w 2860975"/>
              <a:gd name="connsiteY20" fmla="*/ 22006 h 6164592"/>
              <a:gd name="connsiteX21" fmla="*/ 545003 w 2860975"/>
              <a:gd name="connsiteY21" fmla="*/ 7993 h 6164592"/>
              <a:gd name="connsiteX22" fmla="*/ 615141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52799 h 6164592"/>
              <a:gd name="connsiteX20" fmla="*/ 234062 w 2860975"/>
              <a:gd name="connsiteY20" fmla="*/ 22006 h 6164592"/>
              <a:gd name="connsiteX21" fmla="*/ 545003 w 2860975"/>
              <a:gd name="connsiteY21" fmla="*/ 7993 h 6164592"/>
              <a:gd name="connsiteX22" fmla="*/ 615141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52799 h 6164592"/>
              <a:gd name="connsiteX20" fmla="*/ 234062 w 2860975"/>
              <a:gd name="connsiteY20" fmla="*/ 22006 h 6164592"/>
              <a:gd name="connsiteX21" fmla="*/ 545003 w 2860975"/>
              <a:gd name="connsiteY21" fmla="*/ 7993 h 6164592"/>
              <a:gd name="connsiteX22" fmla="*/ 641370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52799 h 6164592"/>
              <a:gd name="connsiteX20" fmla="*/ 234062 w 2860975"/>
              <a:gd name="connsiteY20" fmla="*/ 39492 h 6164592"/>
              <a:gd name="connsiteX21" fmla="*/ 545003 w 2860975"/>
              <a:gd name="connsiteY21" fmla="*/ 7993 h 6164592"/>
              <a:gd name="connsiteX22" fmla="*/ 641370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79028 h 6164592"/>
              <a:gd name="connsiteX20" fmla="*/ 234062 w 2860975"/>
              <a:gd name="connsiteY20" fmla="*/ 39492 h 6164592"/>
              <a:gd name="connsiteX21" fmla="*/ 545003 w 2860975"/>
              <a:gd name="connsiteY21" fmla="*/ 7993 h 6164592"/>
              <a:gd name="connsiteX22" fmla="*/ 641370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79028 h 6164592"/>
              <a:gd name="connsiteX20" fmla="*/ 234062 w 2860975"/>
              <a:gd name="connsiteY20" fmla="*/ 39492 h 6164592"/>
              <a:gd name="connsiteX21" fmla="*/ 545003 w 2860975"/>
              <a:gd name="connsiteY21" fmla="*/ 21107 h 6164592"/>
              <a:gd name="connsiteX22" fmla="*/ 641370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790484 w 2860975"/>
              <a:gd name="connsiteY23" fmla="*/ 242419 h 6156118"/>
              <a:gd name="connsiteX24" fmla="*/ 2022561 w 2860975"/>
              <a:gd name="connsiteY24" fmla="*/ 242419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790484 w 2860975"/>
              <a:gd name="connsiteY23" fmla="*/ 242419 h 6156118"/>
              <a:gd name="connsiteX24" fmla="*/ 2022561 w 2860975"/>
              <a:gd name="connsiteY24" fmla="*/ 242419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790484 w 2860975"/>
              <a:gd name="connsiteY23" fmla="*/ 242419 h 6156118"/>
              <a:gd name="connsiteX24" fmla="*/ 2022561 w 2860975"/>
              <a:gd name="connsiteY24" fmla="*/ 242419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790484 w 2860975"/>
              <a:gd name="connsiteY23" fmla="*/ 242419 h 6156118"/>
              <a:gd name="connsiteX24" fmla="*/ 2022561 w 2860975"/>
              <a:gd name="connsiteY24" fmla="*/ 242419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2561 w 2860975"/>
              <a:gd name="connsiteY24" fmla="*/ 242419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60776 w 2860975"/>
              <a:gd name="connsiteY25" fmla="*/ 163057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60776 w 2860975"/>
              <a:gd name="connsiteY25" fmla="*/ 163057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60776 w 2860975"/>
              <a:gd name="connsiteY25" fmla="*/ 163057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60776 w 2860975"/>
              <a:gd name="connsiteY25" fmla="*/ 163057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60776 w 2860975"/>
              <a:gd name="connsiteY25" fmla="*/ 163057 h 6156118"/>
              <a:gd name="connsiteX26" fmla="*/ 2205413 w 2860975"/>
              <a:gd name="connsiteY26" fmla="*/ 89905 h 6156118"/>
              <a:gd name="connsiteX27" fmla="*/ 2340821 w 2860975"/>
              <a:gd name="connsiteY27" fmla="*/ 5626 h 6156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860975" h="6156118">
                <a:moveTo>
                  <a:pt x="2340821" y="5626"/>
                </a:moveTo>
                <a:cubicBezTo>
                  <a:pt x="2394593" y="10297"/>
                  <a:pt x="2455073" y="-5153"/>
                  <a:pt x="2508845" y="1854"/>
                </a:cubicBezTo>
                <a:cubicBezTo>
                  <a:pt x="2560279" y="6525"/>
                  <a:pt x="2614051" y="11197"/>
                  <a:pt x="2663147" y="27546"/>
                </a:cubicBezTo>
                <a:cubicBezTo>
                  <a:pt x="2749650" y="55573"/>
                  <a:pt x="2805759" y="116298"/>
                  <a:pt x="2829139" y="202714"/>
                </a:cubicBezTo>
                <a:cubicBezTo>
                  <a:pt x="2861869" y="317158"/>
                  <a:pt x="2864207" y="422859"/>
                  <a:pt x="2858618" y="541973"/>
                </a:cubicBezTo>
                <a:cubicBezTo>
                  <a:pt x="2851299" y="627790"/>
                  <a:pt x="2852078" y="698666"/>
                  <a:pt x="2851299" y="804396"/>
                </a:cubicBezTo>
                <a:cubicBezTo>
                  <a:pt x="2850520" y="910126"/>
                  <a:pt x="2851605" y="1050232"/>
                  <a:pt x="2853943" y="1176354"/>
                </a:cubicBezTo>
                <a:cubicBezTo>
                  <a:pt x="2856281" y="1248757"/>
                  <a:pt x="2850807" y="627352"/>
                  <a:pt x="2850180" y="1386856"/>
                </a:cubicBezTo>
                <a:cubicBezTo>
                  <a:pt x="2849553" y="2146360"/>
                  <a:pt x="2850180" y="4284537"/>
                  <a:pt x="2850180" y="5733378"/>
                </a:cubicBezTo>
                <a:cubicBezTo>
                  <a:pt x="2850180" y="5808116"/>
                  <a:pt x="2840828" y="5882855"/>
                  <a:pt x="2826801" y="5955258"/>
                </a:cubicBezTo>
                <a:cubicBezTo>
                  <a:pt x="2819787" y="5987956"/>
                  <a:pt x="2791732" y="6020654"/>
                  <a:pt x="2766015" y="6046346"/>
                </a:cubicBezTo>
                <a:cubicBezTo>
                  <a:pt x="2674837" y="6142105"/>
                  <a:pt x="2555603" y="6156118"/>
                  <a:pt x="2429356" y="6156118"/>
                </a:cubicBezTo>
                <a:lnTo>
                  <a:pt x="362647" y="6153783"/>
                </a:lnTo>
                <a:cubicBezTo>
                  <a:pt x="269130" y="6153783"/>
                  <a:pt x="177952" y="6139769"/>
                  <a:pt x="103139" y="6069702"/>
                </a:cubicBezTo>
                <a:cubicBezTo>
                  <a:pt x="33002" y="6001970"/>
                  <a:pt x="7285" y="5913218"/>
                  <a:pt x="7285" y="5819794"/>
                </a:cubicBezTo>
                <a:cubicBezTo>
                  <a:pt x="4947" y="5182180"/>
                  <a:pt x="7285" y="4544565"/>
                  <a:pt x="7285" y="3906951"/>
                </a:cubicBezTo>
                <a:lnTo>
                  <a:pt x="7285" y="3206275"/>
                </a:lnTo>
                <a:cubicBezTo>
                  <a:pt x="7285" y="2363130"/>
                  <a:pt x="7285" y="1522319"/>
                  <a:pt x="4947" y="679174"/>
                </a:cubicBezTo>
                <a:cubicBezTo>
                  <a:pt x="4947" y="583415"/>
                  <a:pt x="-4405" y="485320"/>
                  <a:pt x="2609" y="389561"/>
                </a:cubicBezTo>
                <a:cubicBezTo>
                  <a:pt x="7285" y="307816"/>
                  <a:pt x="23650" y="249964"/>
                  <a:pt x="47029" y="170554"/>
                </a:cubicBezTo>
                <a:cubicBezTo>
                  <a:pt x="75084" y="84137"/>
                  <a:pt x="151066" y="57338"/>
                  <a:pt x="234062" y="31018"/>
                </a:cubicBezTo>
                <a:cubicBezTo>
                  <a:pt x="317058" y="4698"/>
                  <a:pt x="477118" y="5037"/>
                  <a:pt x="545003" y="12633"/>
                </a:cubicBezTo>
                <a:cubicBezTo>
                  <a:pt x="612888" y="20229"/>
                  <a:pt x="636694" y="29881"/>
                  <a:pt x="641370" y="76593"/>
                </a:cubicBezTo>
                <a:cubicBezTo>
                  <a:pt x="687972" y="205752"/>
                  <a:pt x="791992" y="193111"/>
                  <a:pt x="853104" y="193715"/>
                </a:cubicBezTo>
                <a:lnTo>
                  <a:pt x="2029518" y="193715"/>
                </a:lnTo>
                <a:cubicBezTo>
                  <a:pt x="2064606" y="188605"/>
                  <a:pt x="2108420" y="181980"/>
                  <a:pt x="2160776" y="163057"/>
                </a:cubicBezTo>
                <a:cubicBezTo>
                  <a:pt x="2179479" y="137366"/>
                  <a:pt x="2200737" y="120267"/>
                  <a:pt x="2205413" y="89905"/>
                </a:cubicBezTo>
                <a:cubicBezTo>
                  <a:pt x="2217103" y="22173"/>
                  <a:pt x="2251164" y="11733"/>
                  <a:pt x="2340821" y="5626"/>
                </a:cubicBezTo>
                <a:close/>
              </a:path>
            </a:pathLst>
          </a:custGeom>
          <a:blipFill>
            <a:blip r:embed="rId4"/>
            <a:stretch>
              <a:fillRect l="-121001" r="-138446" b="-5101"/>
            </a:stretch>
          </a:blipFill>
        </p:spPr>
        <p:txBody>
          <a:bodyPr wrap="square" anchor="ctr" anchorCtr="1">
            <a:noAutofit/>
          </a:bodyPr>
          <a:lstStyle>
            <a:lvl1pPr marL="0" indent="0">
              <a:buNone/>
              <a:defRPr/>
            </a:lvl1pPr>
          </a:lstStyle>
          <a:p>
            <a:endParaRPr lang="en-US"/>
          </a:p>
        </p:txBody>
      </p:sp>
      <p:sp>
        <p:nvSpPr>
          <p:cNvPr id="63" name="Picture Placeholder 3">
            <a:extLst>
              <a:ext uri="{FF2B5EF4-FFF2-40B4-BE49-F238E27FC236}">
                <a16:creationId xmlns:a16="http://schemas.microsoft.com/office/drawing/2014/main" id="{4E890F78-3840-8949-8119-9C986EDC58C5}"/>
              </a:ext>
            </a:extLst>
          </p:cNvPr>
          <p:cNvSpPr>
            <a:spLocks noGrp="1" noChangeAspect="1"/>
          </p:cNvSpPr>
          <p:nvPr>
            <p:ph type="pic" sz="quarter" idx="15"/>
          </p:nvPr>
        </p:nvSpPr>
        <p:spPr>
          <a:xfrm>
            <a:off x="10382261" y="2009236"/>
            <a:ext cx="1440599" cy="3099816"/>
          </a:xfrm>
          <a:custGeom>
            <a:avLst/>
            <a:gdLst>
              <a:gd name="connsiteX0" fmla="*/ 2345192 w 2857253"/>
              <a:gd name="connsiteY0" fmla="*/ 986 h 6164592"/>
              <a:gd name="connsiteX1" fmla="*/ 2508845 w 2857253"/>
              <a:gd name="connsiteY1" fmla="*/ 10328 h 6164592"/>
              <a:gd name="connsiteX2" fmla="*/ 2663147 w 2857253"/>
              <a:gd name="connsiteY2" fmla="*/ 36020 h 6164592"/>
              <a:gd name="connsiteX3" fmla="*/ 2829139 w 2857253"/>
              <a:gd name="connsiteY3" fmla="*/ 211188 h 6164592"/>
              <a:gd name="connsiteX4" fmla="*/ 2845504 w 2857253"/>
              <a:gd name="connsiteY4" fmla="*/ 559190 h 6164592"/>
              <a:gd name="connsiteX5" fmla="*/ 2833814 w 2857253"/>
              <a:gd name="connsiteY5" fmla="*/ 799756 h 6164592"/>
              <a:gd name="connsiteX6" fmla="*/ 2840828 w 2857253"/>
              <a:gd name="connsiteY6" fmla="*/ 1180456 h 6164592"/>
              <a:gd name="connsiteX7" fmla="*/ 2850180 w 2857253"/>
              <a:gd name="connsiteY7" fmla="*/ 1395330 h 6164592"/>
              <a:gd name="connsiteX8" fmla="*/ 2850180 w 2857253"/>
              <a:gd name="connsiteY8" fmla="*/ 5741852 h 6164592"/>
              <a:gd name="connsiteX9" fmla="*/ 2826801 w 2857253"/>
              <a:gd name="connsiteY9" fmla="*/ 5963732 h 6164592"/>
              <a:gd name="connsiteX10" fmla="*/ 2766015 w 2857253"/>
              <a:gd name="connsiteY10" fmla="*/ 6054820 h 6164592"/>
              <a:gd name="connsiteX11" fmla="*/ 2429356 w 2857253"/>
              <a:gd name="connsiteY11" fmla="*/ 6164592 h 6164592"/>
              <a:gd name="connsiteX12" fmla="*/ 362647 w 2857253"/>
              <a:gd name="connsiteY12" fmla="*/ 6162257 h 6164592"/>
              <a:gd name="connsiteX13" fmla="*/ 103139 w 2857253"/>
              <a:gd name="connsiteY13" fmla="*/ 6078176 h 6164592"/>
              <a:gd name="connsiteX14" fmla="*/ 7285 w 2857253"/>
              <a:gd name="connsiteY14" fmla="*/ 5828268 h 6164592"/>
              <a:gd name="connsiteX15" fmla="*/ 7285 w 2857253"/>
              <a:gd name="connsiteY15" fmla="*/ 3915425 h 6164592"/>
              <a:gd name="connsiteX16" fmla="*/ 7285 w 2857253"/>
              <a:gd name="connsiteY16" fmla="*/ 3214749 h 6164592"/>
              <a:gd name="connsiteX17" fmla="*/ 4947 w 2857253"/>
              <a:gd name="connsiteY17" fmla="*/ 687648 h 6164592"/>
              <a:gd name="connsiteX18" fmla="*/ 2609 w 2857253"/>
              <a:gd name="connsiteY18" fmla="*/ 398035 h 6164592"/>
              <a:gd name="connsiteX19" fmla="*/ 47029 w 2857253"/>
              <a:gd name="connsiteY19" fmla="*/ 152799 h 6164592"/>
              <a:gd name="connsiteX20" fmla="*/ 234062 w 2857253"/>
              <a:gd name="connsiteY20" fmla="*/ 22006 h 6164592"/>
              <a:gd name="connsiteX21" fmla="*/ 545003 w 2857253"/>
              <a:gd name="connsiteY21" fmla="*/ 7993 h 6164592"/>
              <a:gd name="connsiteX22" fmla="*/ 615141 w 2857253"/>
              <a:gd name="connsiteY22" fmla="*/ 85067 h 6164592"/>
              <a:gd name="connsiteX23" fmla="*/ 790484 w 2857253"/>
              <a:gd name="connsiteY23" fmla="*/ 250893 h 6164592"/>
              <a:gd name="connsiteX24" fmla="*/ 2022561 w 2857253"/>
              <a:gd name="connsiteY24" fmla="*/ 250893 h 6164592"/>
              <a:gd name="connsiteX25" fmla="*/ 2195566 w 2857253"/>
              <a:gd name="connsiteY25" fmla="*/ 178490 h 6164592"/>
              <a:gd name="connsiteX26" fmla="*/ 2230634 w 2857253"/>
              <a:gd name="connsiteY26" fmla="*/ 92074 h 6164592"/>
              <a:gd name="connsiteX27" fmla="*/ 2345192 w 2857253"/>
              <a:gd name="connsiteY27" fmla="*/ 986 h 6164592"/>
              <a:gd name="connsiteX0" fmla="*/ 2345192 w 2857253"/>
              <a:gd name="connsiteY0" fmla="*/ 986 h 6164592"/>
              <a:gd name="connsiteX1" fmla="*/ 2508845 w 2857253"/>
              <a:gd name="connsiteY1" fmla="*/ 10328 h 6164592"/>
              <a:gd name="connsiteX2" fmla="*/ 2663147 w 2857253"/>
              <a:gd name="connsiteY2" fmla="*/ 36020 h 6164592"/>
              <a:gd name="connsiteX3" fmla="*/ 2829139 w 2857253"/>
              <a:gd name="connsiteY3" fmla="*/ 211188 h 6164592"/>
              <a:gd name="connsiteX4" fmla="*/ 2845504 w 2857253"/>
              <a:gd name="connsiteY4" fmla="*/ 554819 h 6164592"/>
              <a:gd name="connsiteX5" fmla="*/ 2833814 w 2857253"/>
              <a:gd name="connsiteY5" fmla="*/ 799756 h 6164592"/>
              <a:gd name="connsiteX6" fmla="*/ 2840828 w 2857253"/>
              <a:gd name="connsiteY6" fmla="*/ 1180456 h 6164592"/>
              <a:gd name="connsiteX7" fmla="*/ 2850180 w 2857253"/>
              <a:gd name="connsiteY7" fmla="*/ 1395330 h 6164592"/>
              <a:gd name="connsiteX8" fmla="*/ 2850180 w 2857253"/>
              <a:gd name="connsiteY8" fmla="*/ 5741852 h 6164592"/>
              <a:gd name="connsiteX9" fmla="*/ 2826801 w 2857253"/>
              <a:gd name="connsiteY9" fmla="*/ 5963732 h 6164592"/>
              <a:gd name="connsiteX10" fmla="*/ 2766015 w 2857253"/>
              <a:gd name="connsiteY10" fmla="*/ 6054820 h 6164592"/>
              <a:gd name="connsiteX11" fmla="*/ 2429356 w 2857253"/>
              <a:gd name="connsiteY11" fmla="*/ 6164592 h 6164592"/>
              <a:gd name="connsiteX12" fmla="*/ 362647 w 2857253"/>
              <a:gd name="connsiteY12" fmla="*/ 6162257 h 6164592"/>
              <a:gd name="connsiteX13" fmla="*/ 103139 w 2857253"/>
              <a:gd name="connsiteY13" fmla="*/ 6078176 h 6164592"/>
              <a:gd name="connsiteX14" fmla="*/ 7285 w 2857253"/>
              <a:gd name="connsiteY14" fmla="*/ 5828268 h 6164592"/>
              <a:gd name="connsiteX15" fmla="*/ 7285 w 2857253"/>
              <a:gd name="connsiteY15" fmla="*/ 3915425 h 6164592"/>
              <a:gd name="connsiteX16" fmla="*/ 7285 w 2857253"/>
              <a:gd name="connsiteY16" fmla="*/ 3214749 h 6164592"/>
              <a:gd name="connsiteX17" fmla="*/ 4947 w 2857253"/>
              <a:gd name="connsiteY17" fmla="*/ 687648 h 6164592"/>
              <a:gd name="connsiteX18" fmla="*/ 2609 w 2857253"/>
              <a:gd name="connsiteY18" fmla="*/ 398035 h 6164592"/>
              <a:gd name="connsiteX19" fmla="*/ 47029 w 2857253"/>
              <a:gd name="connsiteY19" fmla="*/ 152799 h 6164592"/>
              <a:gd name="connsiteX20" fmla="*/ 234062 w 2857253"/>
              <a:gd name="connsiteY20" fmla="*/ 22006 h 6164592"/>
              <a:gd name="connsiteX21" fmla="*/ 545003 w 2857253"/>
              <a:gd name="connsiteY21" fmla="*/ 7993 h 6164592"/>
              <a:gd name="connsiteX22" fmla="*/ 615141 w 2857253"/>
              <a:gd name="connsiteY22" fmla="*/ 85067 h 6164592"/>
              <a:gd name="connsiteX23" fmla="*/ 790484 w 2857253"/>
              <a:gd name="connsiteY23" fmla="*/ 250893 h 6164592"/>
              <a:gd name="connsiteX24" fmla="*/ 2022561 w 2857253"/>
              <a:gd name="connsiteY24" fmla="*/ 250893 h 6164592"/>
              <a:gd name="connsiteX25" fmla="*/ 2195566 w 2857253"/>
              <a:gd name="connsiteY25" fmla="*/ 178490 h 6164592"/>
              <a:gd name="connsiteX26" fmla="*/ 2230634 w 2857253"/>
              <a:gd name="connsiteY26" fmla="*/ 92074 h 6164592"/>
              <a:gd name="connsiteX27" fmla="*/ 2345192 w 2857253"/>
              <a:gd name="connsiteY27" fmla="*/ 986 h 6164592"/>
              <a:gd name="connsiteX0" fmla="*/ 2345192 w 2857253"/>
              <a:gd name="connsiteY0" fmla="*/ 986 h 6164592"/>
              <a:gd name="connsiteX1" fmla="*/ 2508845 w 2857253"/>
              <a:gd name="connsiteY1" fmla="*/ 10328 h 6164592"/>
              <a:gd name="connsiteX2" fmla="*/ 2663147 w 2857253"/>
              <a:gd name="connsiteY2" fmla="*/ 36020 h 6164592"/>
              <a:gd name="connsiteX3" fmla="*/ 2829139 w 2857253"/>
              <a:gd name="connsiteY3" fmla="*/ 211188 h 6164592"/>
              <a:gd name="connsiteX4" fmla="*/ 2845504 w 2857253"/>
              <a:gd name="connsiteY4" fmla="*/ 554819 h 6164592"/>
              <a:gd name="connsiteX5" fmla="*/ 2851299 w 2857253"/>
              <a:gd name="connsiteY5" fmla="*/ 812870 h 6164592"/>
              <a:gd name="connsiteX6" fmla="*/ 2840828 w 2857253"/>
              <a:gd name="connsiteY6" fmla="*/ 1180456 h 6164592"/>
              <a:gd name="connsiteX7" fmla="*/ 2850180 w 2857253"/>
              <a:gd name="connsiteY7" fmla="*/ 1395330 h 6164592"/>
              <a:gd name="connsiteX8" fmla="*/ 2850180 w 2857253"/>
              <a:gd name="connsiteY8" fmla="*/ 5741852 h 6164592"/>
              <a:gd name="connsiteX9" fmla="*/ 2826801 w 2857253"/>
              <a:gd name="connsiteY9" fmla="*/ 5963732 h 6164592"/>
              <a:gd name="connsiteX10" fmla="*/ 2766015 w 2857253"/>
              <a:gd name="connsiteY10" fmla="*/ 6054820 h 6164592"/>
              <a:gd name="connsiteX11" fmla="*/ 2429356 w 2857253"/>
              <a:gd name="connsiteY11" fmla="*/ 6164592 h 6164592"/>
              <a:gd name="connsiteX12" fmla="*/ 362647 w 2857253"/>
              <a:gd name="connsiteY12" fmla="*/ 6162257 h 6164592"/>
              <a:gd name="connsiteX13" fmla="*/ 103139 w 2857253"/>
              <a:gd name="connsiteY13" fmla="*/ 6078176 h 6164592"/>
              <a:gd name="connsiteX14" fmla="*/ 7285 w 2857253"/>
              <a:gd name="connsiteY14" fmla="*/ 5828268 h 6164592"/>
              <a:gd name="connsiteX15" fmla="*/ 7285 w 2857253"/>
              <a:gd name="connsiteY15" fmla="*/ 3915425 h 6164592"/>
              <a:gd name="connsiteX16" fmla="*/ 7285 w 2857253"/>
              <a:gd name="connsiteY16" fmla="*/ 3214749 h 6164592"/>
              <a:gd name="connsiteX17" fmla="*/ 4947 w 2857253"/>
              <a:gd name="connsiteY17" fmla="*/ 687648 h 6164592"/>
              <a:gd name="connsiteX18" fmla="*/ 2609 w 2857253"/>
              <a:gd name="connsiteY18" fmla="*/ 398035 h 6164592"/>
              <a:gd name="connsiteX19" fmla="*/ 47029 w 2857253"/>
              <a:gd name="connsiteY19" fmla="*/ 152799 h 6164592"/>
              <a:gd name="connsiteX20" fmla="*/ 234062 w 2857253"/>
              <a:gd name="connsiteY20" fmla="*/ 22006 h 6164592"/>
              <a:gd name="connsiteX21" fmla="*/ 545003 w 2857253"/>
              <a:gd name="connsiteY21" fmla="*/ 7993 h 6164592"/>
              <a:gd name="connsiteX22" fmla="*/ 615141 w 2857253"/>
              <a:gd name="connsiteY22" fmla="*/ 85067 h 6164592"/>
              <a:gd name="connsiteX23" fmla="*/ 790484 w 2857253"/>
              <a:gd name="connsiteY23" fmla="*/ 250893 h 6164592"/>
              <a:gd name="connsiteX24" fmla="*/ 2022561 w 2857253"/>
              <a:gd name="connsiteY24" fmla="*/ 250893 h 6164592"/>
              <a:gd name="connsiteX25" fmla="*/ 2195566 w 2857253"/>
              <a:gd name="connsiteY25" fmla="*/ 178490 h 6164592"/>
              <a:gd name="connsiteX26" fmla="*/ 2230634 w 2857253"/>
              <a:gd name="connsiteY26" fmla="*/ 92074 h 6164592"/>
              <a:gd name="connsiteX27" fmla="*/ 2345192 w 2857253"/>
              <a:gd name="connsiteY27" fmla="*/ 986 h 6164592"/>
              <a:gd name="connsiteX0" fmla="*/ 2345192 w 2857253"/>
              <a:gd name="connsiteY0" fmla="*/ 986 h 6164592"/>
              <a:gd name="connsiteX1" fmla="*/ 2508845 w 2857253"/>
              <a:gd name="connsiteY1" fmla="*/ 10328 h 6164592"/>
              <a:gd name="connsiteX2" fmla="*/ 2663147 w 2857253"/>
              <a:gd name="connsiteY2" fmla="*/ 36020 h 6164592"/>
              <a:gd name="connsiteX3" fmla="*/ 2829139 w 2857253"/>
              <a:gd name="connsiteY3" fmla="*/ 211188 h 6164592"/>
              <a:gd name="connsiteX4" fmla="*/ 2845504 w 2857253"/>
              <a:gd name="connsiteY4" fmla="*/ 554819 h 6164592"/>
              <a:gd name="connsiteX5" fmla="*/ 2851299 w 2857253"/>
              <a:gd name="connsiteY5" fmla="*/ 812870 h 6164592"/>
              <a:gd name="connsiteX6" fmla="*/ 2853943 w 2857253"/>
              <a:gd name="connsiteY6" fmla="*/ 1184828 h 6164592"/>
              <a:gd name="connsiteX7" fmla="*/ 2850180 w 2857253"/>
              <a:gd name="connsiteY7" fmla="*/ 1395330 h 6164592"/>
              <a:gd name="connsiteX8" fmla="*/ 2850180 w 2857253"/>
              <a:gd name="connsiteY8" fmla="*/ 5741852 h 6164592"/>
              <a:gd name="connsiteX9" fmla="*/ 2826801 w 2857253"/>
              <a:gd name="connsiteY9" fmla="*/ 5963732 h 6164592"/>
              <a:gd name="connsiteX10" fmla="*/ 2766015 w 2857253"/>
              <a:gd name="connsiteY10" fmla="*/ 6054820 h 6164592"/>
              <a:gd name="connsiteX11" fmla="*/ 2429356 w 2857253"/>
              <a:gd name="connsiteY11" fmla="*/ 6164592 h 6164592"/>
              <a:gd name="connsiteX12" fmla="*/ 362647 w 2857253"/>
              <a:gd name="connsiteY12" fmla="*/ 6162257 h 6164592"/>
              <a:gd name="connsiteX13" fmla="*/ 103139 w 2857253"/>
              <a:gd name="connsiteY13" fmla="*/ 6078176 h 6164592"/>
              <a:gd name="connsiteX14" fmla="*/ 7285 w 2857253"/>
              <a:gd name="connsiteY14" fmla="*/ 5828268 h 6164592"/>
              <a:gd name="connsiteX15" fmla="*/ 7285 w 2857253"/>
              <a:gd name="connsiteY15" fmla="*/ 3915425 h 6164592"/>
              <a:gd name="connsiteX16" fmla="*/ 7285 w 2857253"/>
              <a:gd name="connsiteY16" fmla="*/ 3214749 h 6164592"/>
              <a:gd name="connsiteX17" fmla="*/ 4947 w 2857253"/>
              <a:gd name="connsiteY17" fmla="*/ 687648 h 6164592"/>
              <a:gd name="connsiteX18" fmla="*/ 2609 w 2857253"/>
              <a:gd name="connsiteY18" fmla="*/ 398035 h 6164592"/>
              <a:gd name="connsiteX19" fmla="*/ 47029 w 2857253"/>
              <a:gd name="connsiteY19" fmla="*/ 152799 h 6164592"/>
              <a:gd name="connsiteX20" fmla="*/ 234062 w 2857253"/>
              <a:gd name="connsiteY20" fmla="*/ 22006 h 6164592"/>
              <a:gd name="connsiteX21" fmla="*/ 545003 w 2857253"/>
              <a:gd name="connsiteY21" fmla="*/ 7993 h 6164592"/>
              <a:gd name="connsiteX22" fmla="*/ 615141 w 2857253"/>
              <a:gd name="connsiteY22" fmla="*/ 85067 h 6164592"/>
              <a:gd name="connsiteX23" fmla="*/ 790484 w 2857253"/>
              <a:gd name="connsiteY23" fmla="*/ 250893 h 6164592"/>
              <a:gd name="connsiteX24" fmla="*/ 2022561 w 2857253"/>
              <a:gd name="connsiteY24" fmla="*/ 250893 h 6164592"/>
              <a:gd name="connsiteX25" fmla="*/ 2195566 w 2857253"/>
              <a:gd name="connsiteY25" fmla="*/ 178490 h 6164592"/>
              <a:gd name="connsiteX26" fmla="*/ 2230634 w 2857253"/>
              <a:gd name="connsiteY26" fmla="*/ 92074 h 6164592"/>
              <a:gd name="connsiteX27" fmla="*/ 2345192 w 2857253"/>
              <a:gd name="connsiteY27" fmla="*/ 986 h 6164592"/>
              <a:gd name="connsiteX0" fmla="*/ 2345192 w 2860168"/>
              <a:gd name="connsiteY0" fmla="*/ 986 h 6164592"/>
              <a:gd name="connsiteX1" fmla="*/ 2508845 w 2860168"/>
              <a:gd name="connsiteY1" fmla="*/ 10328 h 6164592"/>
              <a:gd name="connsiteX2" fmla="*/ 2663147 w 2860168"/>
              <a:gd name="connsiteY2" fmla="*/ 36020 h 6164592"/>
              <a:gd name="connsiteX3" fmla="*/ 2829139 w 2860168"/>
              <a:gd name="connsiteY3" fmla="*/ 211188 h 6164592"/>
              <a:gd name="connsiteX4" fmla="*/ 2849875 w 2860168"/>
              <a:gd name="connsiteY4" fmla="*/ 554819 h 6164592"/>
              <a:gd name="connsiteX5" fmla="*/ 2851299 w 2860168"/>
              <a:gd name="connsiteY5" fmla="*/ 812870 h 6164592"/>
              <a:gd name="connsiteX6" fmla="*/ 2853943 w 2860168"/>
              <a:gd name="connsiteY6" fmla="*/ 1184828 h 6164592"/>
              <a:gd name="connsiteX7" fmla="*/ 2850180 w 2860168"/>
              <a:gd name="connsiteY7" fmla="*/ 1395330 h 6164592"/>
              <a:gd name="connsiteX8" fmla="*/ 2850180 w 2860168"/>
              <a:gd name="connsiteY8" fmla="*/ 5741852 h 6164592"/>
              <a:gd name="connsiteX9" fmla="*/ 2826801 w 2860168"/>
              <a:gd name="connsiteY9" fmla="*/ 5963732 h 6164592"/>
              <a:gd name="connsiteX10" fmla="*/ 2766015 w 2860168"/>
              <a:gd name="connsiteY10" fmla="*/ 6054820 h 6164592"/>
              <a:gd name="connsiteX11" fmla="*/ 2429356 w 2860168"/>
              <a:gd name="connsiteY11" fmla="*/ 6164592 h 6164592"/>
              <a:gd name="connsiteX12" fmla="*/ 362647 w 2860168"/>
              <a:gd name="connsiteY12" fmla="*/ 6162257 h 6164592"/>
              <a:gd name="connsiteX13" fmla="*/ 103139 w 2860168"/>
              <a:gd name="connsiteY13" fmla="*/ 6078176 h 6164592"/>
              <a:gd name="connsiteX14" fmla="*/ 7285 w 2860168"/>
              <a:gd name="connsiteY14" fmla="*/ 5828268 h 6164592"/>
              <a:gd name="connsiteX15" fmla="*/ 7285 w 2860168"/>
              <a:gd name="connsiteY15" fmla="*/ 3915425 h 6164592"/>
              <a:gd name="connsiteX16" fmla="*/ 7285 w 2860168"/>
              <a:gd name="connsiteY16" fmla="*/ 3214749 h 6164592"/>
              <a:gd name="connsiteX17" fmla="*/ 4947 w 2860168"/>
              <a:gd name="connsiteY17" fmla="*/ 687648 h 6164592"/>
              <a:gd name="connsiteX18" fmla="*/ 2609 w 2860168"/>
              <a:gd name="connsiteY18" fmla="*/ 398035 h 6164592"/>
              <a:gd name="connsiteX19" fmla="*/ 47029 w 2860168"/>
              <a:gd name="connsiteY19" fmla="*/ 152799 h 6164592"/>
              <a:gd name="connsiteX20" fmla="*/ 234062 w 2860168"/>
              <a:gd name="connsiteY20" fmla="*/ 22006 h 6164592"/>
              <a:gd name="connsiteX21" fmla="*/ 545003 w 2860168"/>
              <a:gd name="connsiteY21" fmla="*/ 7993 h 6164592"/>
              <a:gd name="connsiteX22" fmla="*/ 615141 w 2860168"/>
              <a:gd name="connsiteY22" fmla="*/ 85067 h 6164592"/>
              <a:gd name="connsiteX23" fmla="*/ 790484 w 2860168"/>
              <a:gd name="connsiteY23" fmla="*/ 250893 h 6164592"/>
              <a:gd name="connsiteX24" fmla="*/ 2022561 w 2860168"/>
              <a:gd name="connsiteY24" fmla="*/ 250893 h 6164592"/>
              <a:gd name="connsiteX25" fmla="*/ 2195566 w 2860168"/>
              <a:gd name="connsiteY25" fmla="*/ 178490 h 6164592"/>
              <a:gd name="connsiteX26" fmla="*/ 2230634 w 2860168"/>
              <a:gd name="connsiteY26" fmla="*/ 92074 h 6164592"/>
              <a:gd name="connsiteX27" fmla="*/ 2345192 w 2860168"/>
              <a:gd name="connsiteY27" fmla="*/ 986 h 6164592"/>
              <a:gd name="connsiteX0" fmla="*/ 2345192 w 2854520"/>
              <a:gd name="connsiteY0" fmla="*/ 986 h 6164592"/>
              <a:gd name="connsiteX1" fmla="*/ 2508845 w 2854520"/>
              <a:gd name="connsiteY1" fmla="*/ 10328 h 6164592"/>
              <a:gd name="connsiteX2" fmla="*/ 2663147 w 2854520"/>
              <a:gd name="connsiteY2" fmla="*/ 36020 h 6164592"/>
              <a:gd name="connsiteX3" fmla="*/ 2829139 w 2854520"/>
              <a:gd name="connsiteY3" fmla="*/ 211188 h 6164592"/>
              <a:gd name="connsiteX4" fmla="*/ 2849875 w 2854520"/>
              <a:gd name="connsiteY4" fmla="*/ 554819 h 6164592"/>
              <a:gd name="connsiteX5" fmla="*/ 2851299 w 2854520"/>
              <a:gd name="connsiteY5" fmla="*/ 812870 h 6164592"/>
              <a:gd name="connsiteX6" fmla="*/ 2853943 w 2854520"/>
              <a:gd name="connsiteY6" fmla="*/ 1184828 h 6164592"/>
              <a:gd name="connsiteX7" fmla="*/ 2850180 w 2854520"/>
              <a:gd name="connsiteY7" fmla="*/ 1395330 h 6164592"/>
              <a:gd name="connsiteX8" fmla="*/ 2850180 w 2854520"/>
              <a:gd name="connsiteY8" fmla="*/ 5741852 h 6164592"/>
              <a:gd name="connsiteX9" fmla="*/ 2826801 w 2854520"/>
              <a:gd name="connsiteY9" fmla="*/ 5963732 h 6164592"/>
              <a:gd name="connsiteX10" fmla="*/ 2766015 w 2854520"/>
              <a:gd name="connsiteY10" fmla="*/ 6054820 h 6164592"/>
              <a:gd name="connsiteX11" fmla="*/ 2429356 w 2854520"/>
              <a:gd name="connsiteY11" fmla="*/ 6164592 h 6164592"/>
              <a:gd name="connsiteX12" fmla="*/ 362647 w 2854520"/>
              <a:gd name="connsiteY12" fmla="*/ 6162257 h 6164592"/>
              <a:gd name="connsiteX13" fmla="*/ 103139 w 2854520"/>
              <a:gd name="connsiteY13" fmla="*/ 6078176 h 6164592"/>
              <a:gd name="connsiteX14" fmla="*/ 7285 w 2854520"/>
              <a:gd name="connsiteY14" fmla="*/ 5828268 h 6164592"/>
              <a:gd name="connsiteX15" fmla="*/ 7285 w 2854520"/>
              <a:gd name="connsiteY15" fmla="*/ 3915425 h 6164592"/>
              <a:gd name="connsiteX16" fmla="*/ 7285 w 2854520"/>
              <a:gd name="connsiteY16" fmla="*/ 3214749 h 6164592"/>
              <a:gd name="connsiteX17" fmla="*/ 4947 w 2854520"/>
              <a:gd name="connsiteY17" fmla="*/ 687648 h 6164592"/>
              <a:gd name="connsiteX18" fmla="*/ 2609 w 2854520"/>
              <a:gd name="connsiteY18" fmla="*/ 398035 h 6164592"/>
              <a:gd name="connsiteX19" fmla="*/ 47029 w 2854520"/>
              <a:gd name="connsiteY19" fmla="*/ 152799 h 6164592"/>
              <a:gd name="connsiteX20" fmla="*/ 234062 w 2854520"/>
              <a:gd name="connsiteY20" fmla="*/ 22006 h 6164592"/>
              <a:gd name="connsiteX21" fmla="*/ 545003 w 2854520"/>
              <a:gd name="connsiteY21" fmla="*/ 7993 h 6164592"/>
              <a:gd name="connsiteX22" fmla="*/ 615141 w 2854520"/>
              <a:gd name="connsiteY22" fmla="*/ 85067 h 6164592"/>
              <a:gd name="connsiteX23" fmla="*/ 790484 w 2854520"/>
              <a:gd name="connsiteY23" fmla="*/ 250893 h 6164592"/>
              <a:gd name="connsiteX24" fmla="*/ 2022561 w 2854520"/>
              <a:gd name="connsiteY24" fmla="*/ 250893 h 6164592"/>
              <a:gd name="connsiteX25" fmla="*/ 2195566 w 2854520"/>
              <a:gd name="connsiteY25" fmla="*/ 178490 h 6164592"/>
              <a:gd name="connsiteX26" fmla="*/ 2230634 w 2854520"/>
              <a:gd name="connsiteY26" fmla="*/ 92074 h 6164592"/>
              <a:gd name="connsiteX27" fmla="*/ 2345192 w 2854520"/>
              <a:gd name="connsiteY27" fmla="*/ 986 h 6164592"/>
              <a:gd name="connsiteX0" fmla="*/ 2345192 w 2854520"/>
              <a:gd name="connsiteY0" fmla="*/ 986 h 6164592"/>
              <a:gd name="connsiteX1" fmla="*/ 2508845 w 2854520"/>
              <a:gd name="connsiteY1" fmla="*/ 10328 h 6164592"/>
              <a:gd name="connsiteX2" fmla="*/ 2663147 w 2854520"/>
              <a:gd name="connsiteY2" fmla="*/ 36020 h 6164592"/>
              <a:gd name="connsiteX3" fmla="*/ 2829139 w 2854520"/>
              <a:gd name="connsiteY3" fmla="*/ 211188 h 6164592"/>
              <a:gd name="connsiteX4" fmla="*/ 2849875 w 2854520"/>
              <a:gd name="connsiteY4" fmla="*/ 554819 h 6164592"/>
              <a:gd name="connsiteX5" fmla="*/ 2851299 w 2854520"/>
              <a:gd name="connsiteY5" fmla="*/ 812870 h 6164592"/>
              <a:gd name="connsiteX6" fmla="*/ 2853943 w 2854520"/>
              <a:gd name="connsiteY6" fmla="*/ 1184828 h 6164592"/>
              <a:gd name="connsiteX7" fmla="*/ 2850180 w 2854520"/>
              <a:gd name="connsiteY7" fmla="*/ 1395330 h 6164592"/>
              <a:gd name="connsiteX8" fmla="*/ 2850180 w 2854520"/>
              <a:gd name="connsiteY8" fmla="*/ 5741852 h 6164592"/>
              <a:gd name="connsiteX9" fmla="*/ 2826801 w 2854520"/>
              <a:gd name="connsiteY9" fmla="*/ 5963732 h 6164592"/>
              <a:gd name="connsiteX10" fmla="*/ 2766015 w 2854520"/>
              <a:gd name="connsiteY10" fmla="*/ 6054820 h 6164592"/>
              <a:gd name="connsiteX11" fmla="*/ 2429356 w 2854520"/>
              <a:gd name="connsiteY11" fmla="*/ 6164592 h 6164592"/>
              <a:gd name="connsiteX12" fmla="*/ 362647 w 2854520"/>
              <a:gd name="connsiteY12" fmla="*/ 6162257 h 6164592"/>
              <a:gd name="connsiteX13" fmla="*/ 103139 w 2854520"/>
              <a:gd name="connsiteY13" fmla="*/ 6078176 h 6164592"/>
              <a:gd name="connsiteX14" fmla="*/ 7285 w 2854520"/>
              <a:gd name="connsiteY14" fmla="*/ 5828268 h 6164592"/>
              <a:gd name="connsiteX15" fmla="*/ 7285 w 2854520"/>
              <a:gd name="connsiteY15" fmla="*/ 3915425 h 6164592"/>
              <a:gd name="connsiteX16" fmla="*/ 7285 w 2854520"/>
              <a:gd name="connsiteY16" fmla="*/ 3214749 h 6164592"/>
              <a:gd name="connsiteX17" fmla="*/ 4947 w 2854520"/>
              <a:gd name="connsiteY17" fmla="*/ 687648 h 6164592"/>
              <a:gd name="connsiteX18" fmla="*/ 2609 w 2854520"/>
              <a:gd name="connsiteY18" fmla="*/ 398035 h 6164592"/>
              <a:gd name="connsiteX19" fmla="*/ 47029 w 2854520"/>
              <a:gd name="connsiteY19" fmla="*/ 152799 h 6164592"/>
              <a:gd name="connsiteX20" fmla="*/ 234062 w 2854520"/>
              <a:gd name="connsiteY20" fmla="*/ 22006 h 6164592"/>
              <a:gd name="connsiteX21" fmla="*/ 545003 w 2854520"/>
              <a:gd name="connsiteY21" fmla="*/ 7993 h 6164592"/>
              <a:gd name="connsiteX22" fmla="*/ 615141 w 2854520"/>
              <a:gd name="connsiteY22" fmla="*/ 85067 h 6164592"/>
              <a:gd name="connsiteX23" fmla="*/ 790484 w 2854520"/>
              <a:gd name="connsiteY23" fmla="*/ 250893 h 6164592"/>
              <a:gd name="connsiteX24" fmla="*/ 2022561 w 2854520"/>
              <a:gd name="connsiteY24" fmla="*/ 250893 h 6164592"/>
              <a:gd name="connsiteX25" fmla="*/ 2195566 w 2854520"/>
              <a:gd name="connsiteY25" fmla="*/ 178490 h 6164592"/>
              <a:gd name="connsiteX26" fmla="*/ 2230634 w 2854520"/>
              <a:gd name="connsiteY26" fmla="*/ 92074 h 6164592"/>
              <a:gd name="connsiteX27" fmla="*/ 2345192 w 2854520"/>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52799 h 6164592"/>
              <a:gd name="connsiteX20" fmla="*/ 234062 w 2860975"/>
              <a:gd name="connsiteY20" fmla="*/ 22006 h 6164592"/>
              <a:gd name="connsiteX21" fmla="*/ 545003 w 2860975"/>
              <a:gd name="connsiteY21" fmla="*/ 7993 h 6164592"/>
              <a:gd name="connsiteX22" fmla="*/ 615141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52799 h 6164592"/>
              <a:gd name="connsiteX20" fmla="*/ 234062 w 2860975"/>
              <a:gd name="connsiteY20" fmla="*/ 22006 h 6164592"/>
              <a:gd name="connsiteX21" fmla="*/ 545003 w 2860975"/>
              <a:gd name="connsiteY21" fmla="*/ 7993 h 6164592"/>
              <a:gd name="connsiteX22" fmla="*/ 615141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52799 h 6164592"/>
              <a:gd name="connsiteX20" fmla="*/ 234062 w 2860975"/>
              <a:gd name="connsiteY20" fmla="*/ 22006 h 6164592"/>
              <a:gd name="connsiteX21" fmla="*/ 545003 w 2860975"/>
              <a:gd name="connsiteY21" fmla="*/ 7993 h 6164592"/>
              <a:gd name="connsiteX22" fmla="*/ 641370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52799 h 6164592"/>
              <a:gd name="connsiteX20" fmla="*/ 234062 w 2860975"/>
              <a:gd name="connsiteY20" fmla="*/ 39492 h 6164592"/>
              <a:gd name="connsiteX21" fmla="*/ 545003 w 2860975"/>
              <a:gd name="connsiteY21" fmla="*/ 7993 h 6164592"/>
              <a:gd name="connsiteX22" fmla="*/ 641370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79028 h 6164592"/>
              <a:gd name="connsiteX20" fmla="*/ 234062 w 2860975"/>
              <a:gd name="connsiteY20" fmla="*/ 39492 h 6164592"/>
              <a:gd name="connsiteX21" fmla="*/ 545003 w 2860975"/>
              <a:gd name="connsiteY21" fmla="*/ 7993 h 6164592"/>
              <a:gd name="connsiteX22" fmla="*/ 641370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79028 h 6164592"/>
              <a:gd name="connsiteX20" fmla="*/ 234062 w 2860975"/>
              <a:gd name="connsiteY20" fmla="*/ 39492 h 6164592"/>
              <a:gd name="connsiteX21" fmla="*/ 545003 w 2860975"/>
              <a:gd name="connsiteY21" fmla="*/ 21107 h 6164592"/>
              <a:gd name="connsiteX22" fmla="*/ 641370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790484 w 2860975"/>
              <a:gd name="connsiteY23" fmla="*/ 242419 h 6156118"/>
              <a:gd name="connsiteX24" fmla="*/ 2022561 w 2860975"/>
              <a:gd name="connsiteY24" fmla="*/ 242419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790484 w 2860975"/>
              <a:gd name="connsiteY23" fmla="*/ 242419 h 6156118"/>
              <a:gd name="connsiteX24" fmla="*/ 2022561 w 2860975"/>
              <a:gd name="connsiteY24" fmla="*/ 242419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790484 w 2860975"/>
              <a:gd name="connsiteY23" fmla="*/ 242419 h 6156118"/>
              <a:gd name="connsiteX24" fmla="*/ 2022561 w 2860975"/>
              <a:gd name="connsiteY24" fmla="*/ 242419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790484 w 2860975"/>
              <a:gd name="connsiteY23" fmla="*/ 242419 h 6156118"/>
              <a:gd name="connsiteX24" fmla="*/ 2022561 w 2860975"/>
              <a:gd name="connsiteY24" fmla="*/ 242419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2561 w 2860975"/>
              <a:gd name="connsiteY24" fmla="*/ 242419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60776 w 2860975"/>
              <a:gd name="connsiteY25" fmla="*/ 163057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60776 w 2860975"/>
              <a:gd name="connsiteY25" fmla="*/ 163057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60776 w 2860975"/>
              <a:gd name="connsiteY25" fmla="*/ 163057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60776 w 2860975"/>
              <a:gd name="connsiteY25" fmla="*/ 163057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60776 w 2860975"/>
              <a:gd name="connsiteY25" fmla="*/ 163057 h 6156118"/>
              <a:gd name="connsiteX26" fmla="*/ 2205413 w 2860975"/>
              <a:gd name="connsiteY26" fmla="*/ 89905 h 6156118"/>
              <a:gd name="connsiteX27" fmla="*/ 2340821 w 2860975"/>
              <a:gd name="connsiteY27" fmla="*/ 5626 h 6156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860975" h="6156118">
                <a:moveTo>
                  <a:pt x="2340821" y="5626"/>
                </a:moveTo>
                <a:cubicBezTo>
                  <a:pt x="2394593" y="10297"/>
                  <a:pt x="2455073" y="-5153"/>
                  <a:pt x="2508845" y="1854"/>
                </a:cubicBezTo>
                <a:cubicBezTo>
                  <a:pt x="2560279" y="6525"/>
                  <a:pt x="2614051" y="11197"/>
                  <a:pt x="2663147" y="27546"/>
                </a:cubicBezTo>
                <a:cubicBezTo>
                  <a:pt x="2749650" y="55573"/>
                  <a:pt x="2805759" y="116298"/>
                  <a:pt x="2829139" y="202714"/>
                </a:cubicBezTo>
                <a:cubicBezTo>
                  <a:pt x="2861869" y="317158"/>
                  <a:pt x="2864207" y="422859"/>
                  <a:pt x="2858618" y="541973"/>
                </a:cubicBezTo>
                <a:cubicBezTo>
                  <a:pt x="2851299" y="627790"/>
                  <a:pt x="2852078" y="698666"/>
                  <a:pt x="2851299" y="804396"/>
                </a:cubicBezTo>
                <a:cubicBezTo>
                  <a:pt x="2850520" y="910126"/>
                  <a:pt x="2851605" y="1050232"/>
                  <a:pt x="2853943" y="1176354"/>
                </a:cubicBezTo>
                <a:cubicBezTo>
                  <a:pt x="2856281" y="1248757"/>
                  <a:pt x="2850807" y="627352"/>
                  <a:pt x="2850180" y="1386856"/>
                </a:cubicBezTo>
                <a:cubicBezTo>
                  <a:pt x="2849553" y="2146360"/>
                  <a:pt x="2850180" y="4284537"/>
                  <a:pt x="2850180" y="5733378"/>
                </a:cubicBezTo>
                <a:cubicBezTo>
                  <a:pt x="2850180" y="5808116"/>
                  <a:pt x="2840828" y="5882855"/>
                  <a:pt x="2826801" y="5955258"/>
                </a:cubicBezTo>
                <a:cubicBezTo>
                  <a:pt x="2819787" y="5987956"/>
                  <a:pt x="2791732" y="6020654"/>
                  <a:pt x="2766015" y="6046346"/>
                </a:cubicBezTo>
                <a:cubicBezTo>
                  <a:pt x="2674837" y="6142105"/>
                  <a:pt x="2555603" y="6156118"/>
                  <a:pt x="2429356" y="6156118"/>
                </a:cubicBezTo>
                <a:lnTo>
                  <a:pt x="362647" y="6153783"/>
                </a:lnTo>
                <a:cubicBezTo>
                  <a:pt x="269130" y="6153783"/>
                  <a:pt x="177952" y="6139769"/>
                  <a:pt x="103139" y="6069702"/>
                </a:cubicBezTo>
                <a:cubicBezTo>
                  <a:pt x="33002" y="6001970"/>
                  <a:pt x="7285" y="5913218"/>
                  <a:pt x="7285" y="5819794"/>
                </a:cubicBezTo>
                <a:cubicBezTo>
                  <a:pt x="4947" y="5182180"/>
                  <a:pt x="7285" y="4544565"/>
                  <a:pt x="7285" y="3906951"/>
                </a:cubicBezTo>
                <a:lnTo>
                  <a:pt x="7285" y="3206275"/>
                </a:lnTo>
                <a:cubicBezTo>
                  <a:pt x="7285" y="2363130"/>
                  <a:pt x="7285" y="1522319"/>
                  <a:pt x="4947" y="679174"/>
                </a:cubicBezTo>
                <a:cubicBezTo>
                  <a:pt x="4947" y="583415"/>
                  <a:pt x="-4405" y="485320"/>
                  <a:pt x="2609" y="389561"/>
                </a:cubicBezTo>
                <a:cubicBezTo>
                  <a:pt x="7285" y="307816"/>
                  <a:pt x="23650" y="249964"/>
                  <a:pt x="47029" y="170554"/>
                </a:cubicBezTo>
                <a:cubicBezTo>
                  <a:pt x="75084" y="84137"/>
                  <a:pt x="151066" y="57338"/>
                  <a:pt x="234062" y="31018"/>
                </a:cubicBezTo>
                <a:cubicBezTo>
                  <a:pt x="317058" y="4698"/>
                  <a:pt x="477118" y="5037"/>
                  <a:pt x="545003" y="12633"/>
                </a:cubicBezTo>
                <a:cubicBezTo>
                  <a:pt x="612888" y="20229"/>
                  <a:pt x="636694" y="29881"/>
                  <a:pt x="641370" y="76593"/>
                </a:cubicBezTo>
                <a:cubicBezTo>
                  <a:pt x="687972" y="205752"/>
                  <a:pt x="791992" y="193111"/>
                  <a:pt x="853104" y="193715"/>
                </a:cubicBezTo>
                <a:lnTo>
                  <a:pt x="2029518" y="193715"/>
                </a:lnTo>
                <a:cubicBezTo>
                  <a:pt x="2064606" y="188605"/>
                  <a:pt x="2108420" y="181980"/>
                  <a:pt x="2160776" y="163057"/>
                </a:cubicBezTo>
                <a:cubicBezTo>
                  <a:pt x="2179479" y="137366"/>
                  <a:pt x="2200737" y="120267"/>
                  <a:pt x="2205413" y="89905"/>
                </a:cubicBezTo>
                <a:cubicBezTo>
                  <a:pt x="2217103" y="22173"/>
                  <a:pt x="2251164" y="11733"/>
                  <a:pt x="2340821" y="5626"/>
                </a:cubicBezTo>
                <a:close/>
              </a:path>
            </a:pathLst>
          </a:custGeom>
          <a:blipFill>
            <a:blip r:embed="rId4"/>
            <a:stretch>
              <a:fillRect l="-121001" r="-138446" b="-5101"/>
            </a:stretch>
          </a:blipFill>
        </p:spPr>
        <p:txBody>
          <a:bodyPr wrap="square" anchor="ctr" anchorCtr="1">
            <a:noAutofit/>
          </a:bodyPr>
          <a:lstStyle>
            <a:lvl1pPr marL="0" indent="0">
              <a:buNone/>
              <a:defRPr/>
            </a:lvl1pPr>
          </a:lstStyle>
          <a:p>
            <a:endParaRPr lang="en-US"/>
          </a:p>
        </p:txBody>
      </p:sp>
      <p:sp>
        <p:nvSpPr>
          <p:cNvPr id="64" name="Picture Placeholder 3">
            <a:extLst>
              <a:ext uri="{FF2B5EF4-FFF2-40B4-BE49-F238E27FC236}">
                <a16:creationId xmlns:a16="http://schemas.microsoft.com/office/drawing/2014/main" id="{2959E6EF-4F59-054A-86E7-B7BE658F3ABF}"/>
              </a:ext>
            </a:extLst>
          </p:cNvPr>
          <p:cNvSpPr>
            <a:spLocks noGrp="1" noChangeAspect="1"/>
          </p:cNvSpPr>
          <p:nvPr>
            <p:ph type="pic" sz="quarter" idx="16"/>
          </p:nvPr>
        </p:nvSpPr>
        <p:spPr>
          <a:xfrm>
            <a:off x="10382261" y="-1450401"/>
            <a:ext cx="1440599" cy="3099816"/>
          </a:xfrm>
          <a:custGeom>
            <a:avLst/>
            <a:gdLst>
              <a:gd name="connsiteX0" fmla="*/ 2345192 w 2857253"/>
              <a:gd name="connsiteY0" fmla="*/ 986 h 6164592"/>
              <a:gd name="connsiteX1" fmla="*/ 2508845 w 2857253"/>
              <a:gd name="connsiteY1" fmla="*/ 10328 h 6164592"/>
              <a:gd name="connsiteX2" fmla="*/ 2663147 w 2857253"/>
              <a:gd name="connsiteY2" fmla="*/ 36020 h 6164592"/>
              <a:gd name="connsiteX3" fmla="*/ 2829139 w 2857253"/>
              <a:gd name="connsiteY3" fmla="*/ 211188 h 6164592"/>
              <a:gd name="connsiteX4" fmla="*/ 2845504 w 2857253"/>
              <a:gd name="connsiteY4" fmla="*/ 559190 h 6164592"/>
              <a:gd name="connsiteX5" fmla="*/ 2833814 w 2857253"/>
              <a:gd name="connsiteY5" fmla="*/ 799756 h 6164592"/>
              <a:gd name="connsiteX6" fmla="*/ 2840828 w 2857253"/>
              <a:gd name="connsiteY6" fmla="*/ 1180456 h 6164592"/>
              <a:gd name="connsiteX7" fmla="*/ 2850180 w 2857253"/>
              <a:gd name="connsiteY7" fmla="*/ 1395330 h 6164592"/>
              <a:gd name="connsiteX8" fmla="*/ 2850180 w 2857253"/>
              <a:gd name="connsiteY8" fmla="*/ 5741852 h 6164592"/>
              <a:gd name="connsiteX9" fmla="*/ 2826801 w 2857253"/>
              <a:gd name="connsiteY9" fmla="*/ 5963732 h 6164592"/>
              <a:gd name="connsiteX10" fmla="*/ 2766015 w 2857253"/>
              <a:gd name="connsiteY10" fmla="*/ 6054820 h 6164592"/>
              <a:gd name="connsiteX11" fmla="*/ 2429356 w 2857253"/>
              <a:gd name="connsiteY11" fmla="*/ 6164592 h 6164592"/>
              <a:gd name="connsiteX12" fmla="*/ 362647 w 2857253"/>
              <a:gd name="connsiteY12" fmla="*/ 6162257 h 6164592"/>
              <a:gd name="connsiteX13" fmla="*/ 103139 w 2857253"/>
              <a:gd name="connsiteY13" fmla="*/ 6078176 h 6164592"/>
              <a:gd name="connsiteX14" fmla="*/ 7285 w 2857253"/>
              <a:gd name="connsiteY14" fmla="*/ 5828268 h 6164592"/>
              <a:gd name="connsiteX15" fmla="*/ 7285 w 2857253"/>
              <a:gd name="connsiteY15" fmla="*/ 3915425 h 6164592"/>
              <a:gd name="connsiteX16" fmla="*/ 7285 w 2857253"/>
              <a:gd name="connsiteY16" fmla="*/ 3214749 h 6164592"/>
              <a:gd name="connsiteX17" fmla="*/ 4947 w 2857253"/>
              <a:gd name="connsiteY17" fmla="*/ 687648 h 6164592"/>
              <a:gd name="connsiteX18" fmla="*/ 2609 w 2857253"/>
              <a:gd name="connsiteY18" fmla="*/ 398035 h 6164592"/>
              <a:gd name="connsiteX19" fmla="*/ 47029 w 2857253"/>
              <a:gd name="connsiteY19" fmla="*/ 152799 h 6164592"/>
              <a:gd name="connsiteX20" fmla="*/ 234062 w 2857253"/>
              <a:gd name="connsiteY20" fmla="*/ 22006 h 6164592"/>
              <a:gd name="connsiteX21" fmla="*/ 545003 w 2857253"/>
              <a:gd name="connsiteY21" fmla="*/ 7993 h 6164592"/>
              <a:gd name="connsiteX22" fmla="*/ 615141 w 2857253"/>
              <a:gd name="connsiteY22" fmla="*/ 85067 h 6164592"/>
              <a:gd name="connsiteX23" fmla="*/ 790484 w 2857253"/>
              <a:gd name="connsiteY23" fmla="*/ 250893 h 6164592"/>
              <a:gd name="connsiteX24" fmla="*/ 2022561 w 2857253"/>
              <a:gd name="connsiteY24" fmla="*/ 250893 h 6164592"/>
              <a:gd name="connsiteX25" fmla="*/ 2195566 w 2857253"/>
              <a:gd name="connsiteY25" fmla="*/ 178490 h 6164592"/>
              <a:gd name="connsiteX26" fmla="*/ 2230634 w 2857253"/>
              <a:gd name="connsiteY26" fmla="*/ 92074 h 6164592"/>
              <a:gd name="connsiteX27" fmla="*/ 2345192 w 2857253"/>
              <a:gd name="connsiteY27" fmla="*/ 986 h 6164592"/>
              <a:gd name="connsiteX0" fmla="*/ 2345192 w 2857253"/>
              <a:gd name="connsiteY0" fmla="*/ 986 h 6164592"/>
              <a:gd name="connsiteX1" fmla="*/ 2508845 w 2857253"/>
              <a:gd name="connsiteY1" fmla="*/ 10328 h 6164592"/>
              <a:gd name="connsiteX2" fmla="*/ 2663147 w 2857253"/>
              <a:gd name="connsiteY2" fmla="*/ 36020 h 6164592"/>
              <a:gd name="connsiteX3" fmla="*/ 2829139 w 2857253"/>
              <a:gd name="connsiteY3" fmla="*/ 211188 h 6164592"/>
              <a:gd name="connsiteX4" fmla="*/ 2845504 w 2857253"/>
              <a:gd name="connsiteY4" fmla="*/ 554819 h 6164592"/>
              <a:gd name="connsiteX5" fmla="*/ 2833814 w 2857253"/>
              <a:gd name="connsiteY5" fmla="*/ 799756 h 6164592"/>
              <a:gd name="connsiteX6" fmla="*/ 2840828 w 2857253"/>
              <a:gd name="connsiteY6" fmla="*/ 1180456 h 6164592"/>
              <a:gd name="connsiteX7" fmla="*/ 2850180 w 2857253"/>
              <a:gd name="connsiteY7" fmla="*/ 1395330 h 6164592"/>
              <a:gd name="connsiteX8" fmla="*/ 2850180 w 2857253"/>
              <a:gd name="connsiteY8" fmla="*/ 5741852 h 6164592"/>
              <a:gd name="connsiteX9" fmla="*/ 2826801 w 2857253"/>
              <a:gd name="connsiteY9" fmla="*/ 5963732 h 6164592"/>
              <a:gd name="connsiteX10" fmla="*/ 2766015 w 2857253"/>
              <a:gd name="connsiteY10" fmla="*/ 6054820 h 6164592"/>
              <a:gd name="connsiteX11" fmla="*/ 2429356 w 2857253"/>
              <a:gd name="connsiteY11" fmla="*/ 6164592 h 6164592"/>
              <a:gd name="connsiteX12" fmla="*/ 362647 w 2857253"/>
              <a:gd name="connsiteY12" fmla="*/ 6162257 h 6164592"/>
              <a:gd name="connsiteX13" fmla="*/ 103139 w 2857253"/>
              <a:gd name="connsiteY13" fmla="*/ 6078176 h 6164592"/>
              <a:gd name="connsiteX14" fmla="*/ 7285 w 2857253"/>
              <a:gd name="connsiteY14" fmla="*/ 5828268 h 6164592"/>
              <a:gd name="connsiteX15" fmla="*/ 7285 w 2857253"/>
              <a:gd name="connsiteY15" fmla="*/ 3915425 h 6164592"/>
              <a:gd name="connsiteX16" fmla="*/ 7285 w 2857253"/>
              <a:gd name="connsiteY16" fmla="*/ 3214749 h 6164592"/>
              <a:gd name="connsiteX17" fmla="*/ 4947 w 2857253"/>
              <a:gd name="connsiteY17" fmla="*/ 687648 h 6164592"/>
              <a:gd name="connsiteX18" fmla="*/ 2609 w 2857253"/>
              <a:gd name="connsiteY18" fmla="*/ 398035 h 6164592"/>
              <a:gd name="connsiteX19" fmla="*/ 47029 w 2857253"/>
              <a:gd name="connsiteY19" fmla="*/ 152799 h 6164592"/>
              <a:gd name="connsiteX20" fmla="*/ 234062 w 2857253"/>
              <a:gd name="connsiteY20" fmla="*/ 22006 h 6164592"/>
              <a:gd name="connsiteX21" fmla="*/ 545003 w 2857253"/>
              <a:gd name="connsiteY21" fmla="*/ 7993 h 6164592"/>
              <a:gd name="connsiteX22" fmla="*/ 615141 w 2857253"/>
              <a:gd name="connsiteY22" fmla="*/ 85067 h 6164592"/>
              <a:gd name="connsiteX23" fmla="*/ 790484 w 2857253"/>
              <a:gd name="connsiteY23" fmla="*/ 250893 h 6164592"/>
              <a:gd name="connsiteX24" fmla="*/ 2022561 w 2857253"/>
              <a:gd name="connsiteY24" fmla="*/ 250893 h 6164592"/>
              <a:gd name="connsiteX25" fmla="*/ 2195566 w 2857253"/>
              <a:gd name="connsiteY25" fmla="*/ 178490 h 6164592"/>
              <a:gd name="connsiteX26" fmla="*/ 2230634 w 2857253"/>
              <a:gd name="connsiteY26" fmla="*/ 92074 h 6164592"/>
              <a:gd name="connsiteX27" fmla="*/ 2345192 w 2857253"/>
              <a:gd name="connsiteY27" fmla="*/ 986 h 6164592"/>
              <a:gd name="connsiteX0" fmla="*/ 2345192 w 2857253"/>
              <a:gd name="connsiteY0" fmla="*/ 986 h 6164592"/>
              <a:gd name="connsiteX1" fmla="*/ 2508845 w 2857253"/>
              <a:gd name="connsiteY1" fmla="*/ 10328 h 6164592"/>
              <a:gd name="connsiteX2" fmla="*/ 2663147 w 2857253"/>
              <a:gd name="connsiteY2" fmla="*/ 36020 h 6164592"/>
              <a:gd name="connsiteX3" fmla="*/ 2829139 w 2857253"/>
              <a:gd name="connsiteY3" fmla="*/ 211188 h 6164592"/>
              <a:gd name="connsiteX4" fmla="*/ 2845504 w 2857253"/>
              <a:gd name="connsiteY4" fmla="*/ 554819 h 6164592"/>
              <a:gd name="connsiteX5" fmla="*/ 2851299 w 2857253"/>
              <a:gd name="connsiteY5" fmla="*/ 812870 h 6164592"/>
              <a:gd name="connsiteX6" fmla="*/ 2840828 w 2857253"/>
              <a:gd name="connsiteY6" fmla="*/ 1180456 h 6164592"/>
              <a:gd name="connsiteX7" fmla="*/ 2850180 w 2857253"/>
              <a:gd name="connsiteY7" fmla="*/ 1395330 h 6164592"/>
              <a:gd name="connsiteX8" fmla="*/ 2850180 w 2857253"/>
              <a:gd name="connsiteY8" fmla="*/ 5741852 h 6164592"/>
              <a:gd name="connsiteX9" fmla="*/ 2826801 w 2857253"/>
              <a:gd name="connsiteY9" fmla="*/ 5963732 h 6164592"/>
              <a:gd name="connsiteX10" fmla="*/ 2766015 w 2857253"/>
              <a:gd name="connsiteY10" fmla="*/ 6054820 h 6164592"/>
              <a:gd name="connsiteX11" fmla="*/ 2429356 w 2857253"/>
              <a:gd name="connsiteY11" fmla="*/ 6164592 h 6164592"/>
              <a:gd name="connsiteX12" fmla="*/ 362647 w 2857253"/>
              <a:gd name="connsiteY12" fmla="*/ 6162257 h 6164592"/>
              <a:gd name="connsiteX13" fmla="*/ 103139 w 2857253"/>
              <a:gd name="connsiteY13" fmla="*/ 6078176 h 6164592"/>
              <a:gd name="connsiteX14" fmla="*/ 7285 w 2857253"/>
              <a:gd name="connsiteY14" fmla="*/ 5828268 h 6164592"/>
              <a:gd name="connsiteX15" fmla="*/ 7285 w 2857253"/>
              <a:gd name="connsiteY15" fmla="*/ 3915425 h 6164592"/>
              <a:gd name="connsiteX16" fmla="*/ 7285 w 2857253"/>
              <a:gd name="connsiteY16" fmla="*/ 3214749 h 6164592"/>
              <a:gd name="connsiteX17" fmla="*/ 4947 w 2857253"/>
              <a:gd name="connsiteY17" fmla="*/ 687648 h 6164592"/>
              <a:gd name="connsiteX18" fmla="*/ 2609 w 2857253"/>
              <a:gd name="connsiteY18" fmla="*/ 398035 h 6164592"/>
              <a:gd name="connsiteX19" fmla="*/ 47029 w 2857253"/>
              <a:gd name="connsiteY19" fmla="*/ 152799 h 6164592"/>
              <a:gd name="connsiteX20" fmla="*/ 234062 w 2857253"/>
              <a:gd name="connsiteY20" fmla="*/ 22006 h 6164592"/>
              <a:gd name="connsiteX21" fmla="*/ 545003 w 2857253"/>
              <a:gd name="connsiteY21" fmla="*/ 7993 h 6164592"/>
              <a:gd name="connsiteX22" fmla="*/ 615141 w 2857253"/>
              <a:gd name="connsiteY22" fmla="*/ 85067 h 6164592"/>
              <a:gd name="connsiteX23" fmla="*/ 790484 w 2857253"/>
              <a:gd name="connsiteY23" fmla="*/ 250893 h 6164592"/>
              <a:gd name="connsiteX24" fmla="*/ 2022561 w 2857253"/>
              <a:gd name="connsiteY24" fmla="*/ 250893 h 6164592"/>
              <a:gd name="connsiteX25" fmla="*/ 2195566 w 2857253"/>
              <a:gd name="connsiteY25" fmla="*/ 178490 h 6164592"/>
              <a:gd name="connsiteX26" fmla="*/ 2230634 w 2857253"/>
              <a:gd name="connsiteY26" fmla="*/ 92074 h 6164592"/>
              <a:gd name="connsiteX27" fmla="*/ 2345192 w 2857253"/>
              <a:gd name="connsiteY27" fmla="*/ 986 h 6164592"/>
              <a:gd name="connsiteX0" fmla="*/ 2345192 w 2857253"/>
              <a:gd name="connsiteY0" fmla="*/ 986 h 6164592"/>
              <a:gd name="connsiteX1" fmla="*/ 2508845 w 2857253"/>
              <a:gd name="connsiteY1" fmla="*/ 10328 h 6164592"/>
              <a:gd name="connsiteX2" fmla="*/ 2663147 w 2857253"/>
              <a:gd name="connsiteY2" fmla="*/ 36020 h 6164592"/>
              <a:gd name="connsiteX3" fmla="*/ 2829139 w 2857253"/>
              <a:gd name="connsiteY3" fmla="*/ 211188 h 6164592"/>
              <a:gd name="connsiteX4" fmla="*/ 2845504 w 2857253"/>
              <a:gd name="connsiteY4" fmla="*/ 554819 h 6164592"/>
              <a:gd name="connsiteX5" fmla="*/ 2851299 w 2857253"/>
              <a:gd name="connsiteY5" fmla="*/ 812870 h 6164592"/>
              <a:gd name="connsiteX6" fmla="*/ 2853943 w 2857253"/>
              <a:gd name="connsiteY6" fmla="*/ 1184828 h 6164592"/>
              <a:gd name="connsiteX7" fmla="*/ 2850180 w 2857253"/>
              <a:gd name="connsiteY7" fmla="*/ 1395330 h 6164592"/>
              <a:gd name="connsiteX8" fmla="*/ 2850180 w 2857253"/>
              <a:gd name="connsiteY8" fmla="*/ 5741852 h 6164592"/>
              <a:gd name="connsiteX9" fmla="*/ 2826801 w 2857253"/>
              <a:gd name="connsiteY9" fmla="*/ 5963732 h 6164592"/>
              <a:gd name="connsiteX10" fmla="*/ 2766015 w 2857253"/>
              <a:gd name="connsiteY10" fmla="*/ 6054820 h 6164592"/>
              <a:gd name="connsiteX11" fmla="*/ 2429356 w 2857253"/>
              <a:gd name="connsiteY11" fmla="*/ 6164592 h 6164592"/>
              <a:gd name="connsiteX12" fmla="*/ 362647 w 2857253"/>
              <a:gd name="connsiteY12" fmla="*/ 6162257 h 6164592"/>
              <a:gd name="connsiteX13" fmla="*/ 103139 w 2857253"/>
              <a:gd name="connsiteY13" fmla="*/ 6078176 h 6164592"/>
              <a:gd name="connsiteX14" fmla="*/ 7285 w 2857253"/>
              <a:gd name="connsiteY14" fmla="*/ 5828268 h 6164592"/>
              <a:gd name="connsiteX15" fmla="*/ 7285 w 2857253"/>
              <a:gd name="connsiteY15" fmla="*/ 3915425 h 6164592"/>
              <a:gd name="connsiteX16" fmla="*/ 7285 w 2857253"/>
              <a:gd name="connsiteY16" fmla="*/ 3214749 h 6164592"/>
              <a:gd name="connsiteX17" fmla="*/ 4947 w 2857253"/>
              <a:gd name="connsiteY17" fmla="*/ 687648 h 6164592"/>
              <a:gd name="connsiteX18" fmla="*/ 2609 w 2857253"/>
              <a:gd name="connsiteY18" fmla="*/ 398035 h 6164592"/>
              <a:gd name="connsiteX19" fmla="*/ 47029 w 2857253"/>
              <a:gd name="connsiteY19" fmla="*/ 152799 h 6164592"/>
              <a:gd name="connsiteX20" fmla="*/ 234062 w 2857253"/>
              <a:gd name="connsiteY20" fmla="*/ 22006 h 6164592"/>
              <a:gd name="connsiteX21" fmla="*/ 545003 w 2857253"/>
              <a:gd name="connsiteY21" fmla="*/ 7993 h 6164592"/>
              <a:gd name="connsiteX22" fmla="*/ 615141 w 2857253"/>
              <a:gd name="connsiteY22" fmla="*/ 85067 h 6164592"/>
              <a:gd name="connsiteX23" fmla="*/ 790484 w 2857253"/>
              <a:gd name="connsiteY23" fmla="*/ 250893 h 6164592"/>
              <a:gd name="connsiteX24" fmla="*/ 2022561 w 2857253"/>
              <a:gd name="connsiteY24" fmla="*/ 250893 h 6164592"/>
              <a:gd name="connsiteX25" fmla="*/ 2195566 w 2857253"/>
              <a:gd name="connsiteY25" fmla="*/ 178490 h 6164592"/>
              <a:gd name="connsiteX26" fmla="*/ 2230634 w 2857253"/>
              <a:gd name="connsiteY26" fmla="*/ 92074 h 6164592"/>
              <a:gd name="connsiteX27" fmla="*/ 2345192 w 2857253"/>
              <a:gd name="connsiteY27" fmla="*/ 986 h 6164592"/>
              <a:gd name="connsiteX0" fmla="*/ 2345192 w 2860168"/>
              <a:gd name="connsiteY0" fmla="*/ 986 h 6164592"/>
              <a:gd name="connsiteX1" fmla="*/ 2508845 w 2860168"/>
              <a:gd name="connsiteY1" fmla="*/ 10328 h 6164592"/>
              <a:gd name="connsiteX2" fmla="*/ 2663147 w 2860168"/>
              <a:gd name="connsiteY2" fmla="*/ 36020 h 6164592"/>
              <a:gd name="connsiteX3" fmla="*/ 2829139 w 2860168"/>
              <a:gd name="connsiteY3" fmla="*/ 211188 h 6164592"/>
              <a:gd name="connsiteX4" fmla="*/ 2849875 w 2860168"/>
              <a:gd name="connsiteY4" fmla="*/ 554819 h 6164592"/>
              <a:gd name="connsiteX5" fmla="*/ 2851299 w 2860168"/>
              <a:gd name="connsiteY5" fmla="*/ 812870 h 6164592"/>
              <a:gd name="connsiteX6" fmla="*/ 2853943 w 2860168"/>
              <a:gd name="connsiteY6" fmla="*/ 1184828 h 6164592"/>
              <a:gd name="connsiteX7" fmla="*/ 2850180 w 2860168"/>
              <a:gd name="connsiteY7" fmla="*/ 1395330 h 6164592"/>
              <a:gd name="connsiteX8" fmla="*/ 2850180 w 2860168"/>
              <a:gd name="connsiteY8" fmla="*/ 5741852 h 6164592"/>
              <a:gd name="connsiteX9" fmla="*/ 2826801 w 2860168"/>
              <a:gd name="connsiteY9" fmla="*/ 5963732 h 6164592"/>
              <a:gd name="connsiteX10" fmla="*/ 2766015 w 2860168"/>
              <a:gd name="connsiteY10" fmla="*/ 6054820 h 6164592"/>
              <a:gd name="connsiteX11" fmla="*/ 2429356 w 2860168"/>
              <a:gd name="connsiteY11" fmla="*/ 6164592 h 6164592"/>
              <a:gd name="connsiteX12" fmla="*/ 362647 w 2860168"/>
              <a:gd name="connsiteY12" fmla="*/ 6162257 h 6164592"/>
              <a:gd name="connsiteX13" fmla="*/ 103139 w 2860168"/>
              <a:gd name="connsiteY13" fmla="*/ 6078176 h 6164592"/>
              <a:gd name="connsiteX14" fmla="*/ 7285 w 2860168"/>
              <a:gd name="connsiteY14" fmla="*/ 5828268 h 6164592"/>
              <a:gd name="connsiteX15" fmla="*/ 7285 w 2860168"/>
              <a:gd name="connsiteY15" fmla="*/ 3915425 h 6164592"/>
              <a:gd name="connsiteX16" fmla="*/ 7285 w 2860168"/>
              <a:gd name="connsiteY16" fmla="*/ 3214749 h 6164592"/>
              <a:gd name="connsiteX17" fmla="*/ 4947 w 2860168"/>
              <a:gd name="connsiteY17" fmla="*/ 687648 h 6164592"/>
              <a:gd name="connsiteX18" fmla="*/ 2609 w 2860168"/>
              <a:gd name="connsiteY18" fmla="*/ 398035 h 6164592"/>
              <a:gd name="connsiteX19" fmla="*/ 47029 w 2860168"/>
              <a:gd name="connsiteY19" fmla="*/ 152799 h 6164592"/>
              <a:gd name="connsiteX20" fmla="*/ 234062 w 2860168"/>
              <a:gd name="connsiteY20" fmla="*/ 22006 h 6164592"/>
              <a:gd name="connsiteX21" fmla="*/ 545003 w 2860168"/>
              <a:gd name="connsiteY21" fmla="*/ 7993 h 6164592"/>
              <a:gd name="connsiteX22" fmla="*/ 615141 w 2860168"/>
              <a:gd name="connsiteY22" fmla="*/ 85067 h 6164592"/>
              <a:gd name="connsiteX23" fmla="*/ 790484 w 2860168"/>
              <a:gd name="connsiteY23" fmla="*/ 250893 h 6164592"/>
              <a:gd name="connsiteX24" fmla="*/ 2022561 w 2860168"/>
              <a:gd name="connsiteY24" fmla="*/ 250893 h 6164592"/>
              <a:gd name="connsiteX25" fmla="*/ 2195566 w 2860168"/>
              <a:gd name="connsiteY25" fmla="*/ 178490 h 6164592"/>
              <a:gd name="connsiteX26" fmla="*/ 2230634 w 2860168"/>
              <a:gd name="connsiteY26" fmla="*/ 92074 h 6164592"/>
              <a:gd name="connsiteX27" fmla="*/ 2345192 w 2860168"/>
              <a:gd name="connsiteY27" fmla="*/ 986 h 6164592"/>
              <a:gd name="connsiteX0" fmla="*/ 2345192 w 2854520"/>
              <a:gd name="connsiteY0" fmla="*/ 986 h 6164592"/>
              <a:gd name="connsiteX1" fmla="*/ 2508845 w 2854520"/>
              <a:gd name="connsiteY1" fmla="*/ 10328 h 6164592"/>
              <a:gd name="connsiteX2" fmla="*/ 2663147 w 2854520"/>
              <a:gd name="connsiteY2" fmla="*/ 36020 h 6164592"/>
              <a:gd name="connsiteX3" fmla="*/ 2829139 w 2854520"/>
              <a:gd name="connsiteY3" fmla="*/ 211188 h 6164592"/>
              <a:gd name="connsiteX4" fmla="*/ 2849875 w 2854520"/>
              <a:gd name="connsiteY4" fmla="*/ 554819 h 6164592"/>
              <a:gd name="connsiteX5" fmla="*/ 2851299 w 2854520"/>
              <a:gd name="connsiteY5" fmla="*/ 812870 h 6164592"/>
              <a:gd name="connsiteX6" fmla="*/ 2853943 w 2854520"/>
              <a:gd name="connsiteY6" fmla="*/ 1184828 h 6164592"/>
              <a:gd name="connsiteX7" fmla="*/ 2850180 w 2854520"/>
              <a:gd name="connsiteY7" fmla="*/ 1395330 h 6164592"/>
              <a:gd name="connsiteX8" fmla="*/ 2850180 w 2854520"/>
              <a:gd name="connsiteY8" fmla="*/ 5741852 h 6164592"/>
              <a:gd name="connsiteX9" fmla="*/ 2826801 w 2854520"/>
              <a:gd name="connsiteY9" fmla="*/ 5963732 h 6164592"/>
              <a:gd name="connsiteX10" fmla="*/ 2766015 w 2854520"/>
              <a:gd name="connsiteY10" fmla="*/ 6054820 h 6164592"/>
              <a:gd name="connsiteX11" fmla="*/ 2429356 w 2854520"/>
              <a:gd name="connsiteY11" fmla="*/ 6164592 h 6164592"/>
              <a:gd name="connsiteX12" fmla="*/ 362647 w 2854520"/>
              <a:gd name="connsiteY12" fmla="*/ 6162257 h 6164592"/>
              <a:gd name="connsiteX13" fmla="*/ 103139 w 2854520"/>
              <a:gd name="connsiteY13" fmla="*/ 6078176 h 6164592"/>
              <a:gd name="connsiteX14" fmla="*/ 7285 w 2854520"/>
              <a:gd name="connsiteY14" fmla="*/ 5828268 h 6164592"/>
              <a:gd name="connsiteX15" fmla="*/ 7285 w 2854520"/>
              <a:gd name="connsiteY15" fmla="*/ 3915425 h 6164592"/>
              <a:gd name="connsiteX16" fmla="*/ 7285 w 2854520"/>
              <a:gd name="connsiteY16" fmla="*/ 3214749 h 6164592"/>
              <a:gd name="connsiteX17" fmla="*/ 4947 w 2854520"/>
              <a:gd name="connsiteY17" fmla="*/ 687648 h 6164592"/>
              <a:gd name="connsiteX18" fmla="*/ 2609 w 2854520"/>
              <a:gd name="connsiteY18" fmla="*/ 398035 h 6164592"/>
              <a:gd name="connsiteX19" fmla="*/ 47029 w 2854520"/>
              <a:gd name="connsiteY19" fmla="*/ 152799 h 6164592"/>
              <a:gd name="connsiteX20" fmla="*/ 234062 w 2854520"/>
              <a:gd name="connsiteY20" fmla="*/ 22006 h 6164592"/>
              <a:gd name="connsiteX21" fmla="*/ 545003 w 2854520"/>
              <a:gd name="connsiteY21" fmla="*/ 7993 h 6164592"/>
              <a:gd name="connsiteX22" fmla="*/ 615141 w 2854520"/>
              <a:gd name="connsiteY22" fmla="*/ 85067 h 6164592"/>
              <a:gd name="connsiteX23" fmla="*/ 790484 w 2854520"/>
              <a:gd name="connsiteY23" fmla="*/ 250893 h 6164592"/>
              <a:gd name="connsiteX24" fmla="*/ 2022561 w 2854520"/>
              <a:gd name="connsiteY24" fmla="*/ 250893 h 6164592"/>
              <a:gd name="connsiteX25" fmla="*/ 2195566 w 2854520"/>
              <a:gd name="connsiteY25" fmla="*/ 178490 h 6164592"/>
              <a:gd name="connsiteX26" fmla="*/ 2230634 w 2854520"/>
              <a:gd name="connsiteY26" fmla="*/ 92074 h 6164592"/>
              <a:gd name="connsiteX27" fmla="*/ 2345192 w 2854520"/>
              <a:gd name="connsiteY27" fmla="*/ 986 h 6164592"/>
              <a:gd name="connsiteX0" fmla="*/ 2345192 w 2854520"/>
              <a:gd name="connsiteY0" fmla="*/ 986 h 6164592"/>
              <a:gd name="connsiteX1" fmla="*/ 2508845 w 2854520"/>
              <a:gd name="connsiteY1" fmla="*/ 10328 h 6164592"/>
              <a:gd name="connsiteX2" fmla="*/ 2663147 w 2854520"/>
              <a:gd name="connsiteY2" fmla="*/ 36020 h 6164592"/>
              <a:gd name="connsiteX3" fmla="*/ 2829139 w 2854520"/>
              <a:gd name="connsiteY3" fmla="*/ 211188 h 6164592"/>
              <a:gd name="connsiteX4" fmla="*/ 2849875 w 2854520"/>
              <a:gd name="connsiteY4" fmla="*/ 554819 h 6164592"/>
              <a:gd name="connsiteX5" fmla="*/ 2851299 w 2854520"/>
              <a:gd name="connsiteY5" fmla="*/ 812870 h 6164592"/>
              <a:gd name="connsiteX6" fmla="*/ 2853943 w 2854520"/>
              <a:gd name="connsiteY6" fmla="*/ 1184828 h 6164592"/>
              <a:gd name="connsiteX7" fmla="*/ 2850180 w 2854520"/>
              <a:gd name="connsiteY7" fmla="*/ 1395330 h 6164592"/>
              <a:gd name="connsiteX8" fmla="*/ 2850180 w 2854520"/>
              <a:gd name="connsiteY8" fmla="*/ 5741852 h 6164592"/>
              <a:gd name="connsiteX9" fmla="*/ 2826801 w 2854520"/>
              <a:gd name="connsiteY9" fmla="*/ 5963732 h 6164592"/>
              <a:gd name="connsiteX10" fmla="*/ 2766015 w 2854520"/>
              <a:gd name="connsiteY10" fmla="*/ 6054820 h 6164592"/>
              <a:gd name="connsiteX11" fmla="*/ 2429356 w 2854520"/>
              <a:gd name="connsiteY11" fmla="*/ 6164592 h 6164592"/>
              <a:gd name="connsiteX12" fmla="*/ 362647 w 2854520"/>
              <a:gd name="connsiteY12" fmla="*/ 6162257 h 6164592"/>
              <a:gd name="connsiteX13" fmla="*/ 103139 w 2854520"/>
              <a:gd name="connsiteY13" fmla="*/ 6078176 h 6164592"/>
              <a:gd name="connsiteX14" fmla="*/ 7285 w 2854520"/>
              <a:gd name="connsiteY14" fmla="*/ 5828268 h 6164592"/>
              <a:gd name="connsiteX15" fmla="*/ 7285 w 2854520"/>
              <a:gd name="connsiteY15" fmla="*/ 3915425 h 6164592"/>
              <a:gd name="connsiteX16" fmla="*/ 7285 w 2854520"/>
              <a:gd name="connsiteY16" fmla="*/ 3214749 h 6164592"/>
              <a:gd name="connsiteX17" fmla="*/ 4947 w 2854520"/>
              <a:gd name="connsiteY17" fmla="*/ 687648 h 6164592"/>
              <a:gd name="connsiteX18" fmla="*/ 2609 w 2854520"/>
              <a:gd name="connsiteY18" fmla="*/ 398035 h 6164592"/>
              <a:gd name="connsiteX19" fmla="*/ 47029 w 2854520"/>
              <a:gd name="connsiteY19" fmla="*/ 152799 h 6164592"/>
              <a:gd name="connsiteX20" fmla="*/ 234062 w 2854520"/>
              <a:gd name="connsiteY20" fmla="*/ 22006 h 6164592"/>
              <a:gd name="connsiteX21" fmla="*/ 545003 w 2854520"/>
              <a:gd name="connsiteY21" fmla="*/ 7993 h 6164592"/>
              <a:gd name="connsiteX22" fmla="*/ 615141 w 2854520"/>
              <a:gd name="connsiteY22" fmla="*/ 85067 h 6164592"/>
              <a:gd name="connsiteX23" fmla="*/ 790484 w 2854520"/>
              <a:gd name="connsiteY23" fmla="*/ 250893 h 6164592"/>
              <a:gd name="connsiteX24" fmla="*/ 2022561 w 2854520"/>
              <a:gd name="connsiteY24" fmla="*/ 250893 h 6164592"/>
              <a:gd name="connsiteX25" fmla="*/ 2195566 w 2854520"/>
              <a:gd name="connsiteY25" fmla="*/ 178490 h 6164592"/>
              <a:gd name="connsiteX26" fmla="*/ 2230634 w 2854520"/>
              <a:gd name="connsiteY26" fmla="*/ 92074 h 6164592"/>
              <a:gd name="connsiteX27" fmla="*/ 2345192 w 2854520"/>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52799 h 6164592"/>
              <a:gd name="connsiteX20" fmla="*/ 234062 w 2860975"/>
              <a:gd name="connsiteY20" fmla="*/ 22006 h 6164592"/>
              <a:gd name="connsiteX21" fmla="*/ 545003 w 2860975"/>
              <a:gd name="connsiteY21" fmla="*/ 7993 h 6164592"/>
              <a:gd name="connsiteX22" fmla="*/ 615141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52799 h 6164592"/>
              <a:gd name="connsiteX20" fmla="*/ 234062 w 2860975"/>
              <a:gd name="connsiteY20" fmla="*/ 22006 h 6164592"/>
              <a:gd name="connsiteX21" fmla="*/ 545003 w 2860975"/>
              <a:gd name="connsiteY21" fmla="*/ 7993 h 6164592"/>
              <a:gd name="connsiteX22" fmla="*/ 615141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52799 h 6164592"/>
              <a:gd name="connsiteX20" fmla="*/ 234062 w 2860975"/>
              <a:gd name="connsiteY20" fmla="*/ 22006 h 6164592"/>
              <a:gd name="connsiteX21" fmla="*/ 545003 w 2860975"/>
              <a:gd name="connsiteY21" fmla="*/ 7993 h 6164592"/>
              <a:gd name="connsiteX22" fmla="*/ 641370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52799 h 6164592"/>
              <a:gd name="connsiteX20" fmla="*/ 234062 w 2860975"/>
              <a:gd name="connsiteY20" fmla="*/ 39492 h 6164592"/>
              <a:gd name="connsiteX21" fmla="*/ 545003 w 2860975"/>
              <a:gd name="connsiteY21" fmla="*/ 7993 h 6164592"/>
              <a:gd name="connsiteX22" fmla="*/ 641370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79028 h 6164592"/>
              <a:gd name="connsiteX20" fmla="*/ 234062 w 2860975"/>
              <a:gd name="connsiteY20" fmla="*/ 39492 h 6164592"/>
              <a:gd name="connsiteX21" fmla="*/ 545003 w 2860975"/>
              <a:gd name="connsiteY21" fmla="*/ 7993 h 6164592"/>
              <a:gd name="connsiteX22" fmla="*/ 641370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79028 h 6164592"/>
              <a:gd name="connsiteX20" fmla="*/ 234062 w 2860975"/>
              <a:gd name="connsiteY20" fmla="*/ 39492 h 6164592"/>
              <a:gd name="connsiteX21" fmla="*/ 545003 w 2860975"/>
              <a:gd name="connsiteY21" fmla="*/ 21107 h 6164592"/>
              <a:gd name="connsiteX22" fmla="*/ 641370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790484 w 2860975"/>
              <a:gd name="connsiteY23" fmla="*/ 242419 h 6156118"/>
              <a:gd name="connsiteX24" fmla="*/ 2022561 w 2860975"/>
              <a:gd name="connsiteY24" fmla="*/ 242419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790484 w 2860975"/>
              <a:gd name="connsiteY23" fmla="*/ 242419 h 6156118"/>
              <a:gd name="connsiteX24" fmla="*/ 2022561 w 2860975"/>
              <a:gd name="connsiteY24" fmla="*/ 242419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790484 w 2860975"/>
              <a:gd name="connsiteY23" fmla="*/ 242419 h 6156118"/>
              <a:gd name="connsiteX24" fmla="*/ 2022561 w 2860975"/>
              <a:gd name="connsiteY24" fmla="*/ 242419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790484 w 2860975"/>
              <a:gd name="connsiteY23" fmla="*/ 242419 h 6156118"/>
              <a:gd name="connsiteX24" fmla="*/ 2022561 w 2860975"/>
              <a:gd name="connsiteY24" fmla="*/ 242419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2561 w 2860975"/>
              <a:gd name="connsiteY24" fmla="*/ 242419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60776 w 2860975"/>
              <a:gd name="connsiteY25" fmla="*/ 163057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60776 w 2860975"/>
              <a:gd name="connsiteY25" fmla="*/ 163057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60776 w 2860975"/>
              <a:gd name="connsiteY25" fmla="*/ 163057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60776 w 2860975"/>
              <a:gd name="connsiteY25" fmla="*/ 163057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60776 w 2860975"/>
              <a:gd name="connsiteY25" fmla="*/ 163057 h 6156118"/>
              <a:gd name="connsiteX26" fmla="*/ 2205413 w 2860975"/>
              <a:gd name="connsiteY26" fmla="*/ 89905 h 6156118"/>
              <a:gd name="connsiteX27" fmla="*/ 2340821 w 2860975"/>
              <a:gd name="connsiteY27" fmla="*/ 5626 h 6156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860975" h="6156118">
                <a:moveTo>
                  <a:pt x="2340821" y="5626"/>
                </a:moveTo>
                <a:cubicBezTo>
                  <a:pt x="2394593" y="10297"/>
                  <a:pt x="2455073" y="-5153"/>
                  <a:pt x="2508845" y="1854"/>
                </a:cubicBezTo>
                <a:cubicBezTo>
                  <a:pt x="2560279" y="6525"/>
                  <a:pt x="2614051" y="11197"/>
                  <a:pt x="2663147" y="27546"/>
                </a:cubicBezTo>
                <a:cubicBezTo>
                  <a:pt x="2749650" y="55573"/>
                  <a:pt x="2805759" y="116298"/>
                  <a:pt x="2829139" y="202714"/>
                </a:cubicBezTo>
                <a:cubicBezTo>
                  <a:pt x="2861869" y="317158"/>
                  <a:pt x="2864207" y="422859"/>
                  <a:pt x="2858618" y="541973"/>
                </a:cubicBezTo>
                <a:cubicBezTo>
                  <a:pt x="2851299" y="627790"/>
                  <a:pt x="2852078" y="698666"/>
                  <a:pt x="2851299" y="804396"/>
                </a:cubicBezTo>
                <a:cubicBezTo>
                  <a:pt x="2850520" y="910126"/>
                  <a:pt x="2851605" y="1050232"/>
                  <a:pt x="2853943" y="1176354"/>
                </a:cubicBezTo>
                <a:cubicBezTo>
                  <a:pt x="2856281" y="1248757"/>
                  <a:pt x="2850807" y="627352"/>
                  <a:pt x="2850180" y="1386856"/>
                </a:cubicBezTo>
                <a:cubicBezTo>
                  <a:pt x="2849553" y="2146360"/>
                  <a:pt x="2850180" y="4284537"/>
                  <a:pt x="2850180" y="5733378"/>
                </a:cubicBezTo>
                <a:cubicBezTo>
                  <a:pt x="2850180" y="5808116"/>
                  <a:pt x="2840828" y="5882855"/>
                  <a:pt x="2826801" y="5955258"/>
                </a:cubicBezTo>
                <a:cubicBezTo>
                  <a:pt x="2819787" y="5987956"/>
                  <a:pt x="2791732" y="6020654"/>
                  <a:pt x="2766015" y="6046346"/>
                </a:cubicBezTo>
                <a:cubicBezTo>
                  <a:pt x="2674837" y="6142105"/>
                  <a:pt x="2555603" y="6156118"/>
                  <a:pt x="2429356" y="6156118"/>
                </a:cubicBezTo>
                <a:lnTo>
                  <a:pt x="362647" y="6153783"/>
                </a:lnTo>
                <a:cubicBezTo>
                  <a:pt x="269130" y="6153783"/>
                  <a:pt x="177952" y="6139769"/>
                  <a:pt x="103139" y="6069702"/>
                </a:cubicBezTo>
                <a:cubicBezTo>
                  <a:pt x="33002" y="6001970"/>
                  <a:pt x="7285" y="5913218"/>
                  <a:pt x="7285" y="5819794"/>
                </a:cubicBezTo>
                <a:cubicBezTo>
                  <a:pt x="4947" y="5182180"/>
                  <a:pt x="7285" y="4544565"/>
                  <a:pt x="7285" y="3906951"/>
                </a:cubicBezTo>
                <a:lnTo>
                  <a:pt x="7285" y="3206275"/>
                </a:lnTo>
                <a:cubicBezTo>
                  <a:pt x="7285" y="2363130"/>
                  <a:pt x="7285" y="1522319"/>
                  <a:pt x="4947" y="679174"/>
                </a:cubicBezTo>
                <a:cubicBezTo>
                  <a:pt x="4947" y="583415"/>
                  <a:pt x="-4405" y="485320"/>
                  <a:pt x="2609" y="389561"/>
                </a:cubicBezTo>
                <a:cubicBezTo>
                  <a:pt x="7285" y="307816"/>
                  <a:pt x="23650" y="249964"/>
                  <a:pt x="47029" y="170554"/>
                </a:cubicBezTo>
                <a:cubicBezTo>
                  <a:pt x="75084" y="84137"/>
                  <a:pt x="151066" y="57338"/>
                  <a:pt x="234062" y="31018"/>
                </a:cubicBezTo>
                <a:cubicBezTo>
                  <a:pt x="317058" y="4698"/>
                  <a:pt x="477118" y="5037"/>
                  <a:pt x="545003" y="12633"/>
                </a:cubicBezTo>
                <a:cubicBezTo>
                  <a:pt x="612888" y="20229"/>
                  <a:pt x="636694" y="29881"/>
                  <a:pt x="641370" y="76593"/>
                </a:cubicBezTo>
                <a:cubicBezTo>
                  <a:pt x="687972" y="205752"/>
                  <a:pt x="791992" y="193111"/>
                  <a:pt x="853104" y="193715"/>
                </a:cubicBezTo>
                <a:lnTo>
                  <a:pt x="2029518" y="193715"/>
                </a:lnTo>
                <a:cubicBezTo>
                  <a:pt x="2064606" y="188605"/>
                  <a:pt x="2108420" y="181980"/>
                  <a:pt x="2160776" y="163057"/>
                </a:cubicBezTo>
                <a:cubicBezTo>
                  <a:pt x="2179479" y="137366"/>
                  <a:pt x="2200737" y="120267"/>
                  <a:pt x="2205413" y="89905"/>
                </a:cubicBezTo>
                <a:cubicBezTo>
                  <a:pt x="2217103" y="22173"/>
                  <a:pt x="2251164" y="11733"/>
                  <a:pt x="2340821" y="5626"/>
                </a:cubicBezTo>
                <a:close/>
              </a:path>
            </a:pathLst>
          </a:custGeom>
          <a:blipFill>
            <a:blip r:embed="rId4"/>
            <a:stretch>
              <a:fillRect l="-121001" r="-138446" b="-5101"/>
            </a:stretch>
          </a:blipFill>
        </p:spPr>
        <p:txBody>
          <a:bodyPr wrap="square" anchor="ctr" anchorCtr="1">
            <a:noAutofit/>
          </a:bodyPr>
          <a:lstStyle>
            <a:lvl1pPr marL="0" indent="0">
              <a:buNone/>
              <a:defRPr/>
            </a:lvl1pPr>
          </a:lstStyle>
          <a:p>
            <a:endParaRPr lang="en-US"/>
          </a:p>
        </p:txBody>
      </p:sp>
      <p:sp>
        <p:nvSpPr>
          <p:cNvPr id="65" name="Picture Placeholder 3">
            <a:extLst>
              <a:ext uri="{FF2B5EF4-FFF2-40B4-BE49-F238E27FC236}">
                <a16:creationId xmlns:a16="http://schemas.microsoft.com/office/drawing/2014/main" id="{675BE653-0AAC-0945-931D-409224B75A0D}"/>
              </a:ext>
            </a:extLst>
          </p:cNvPr>
          <p:cNvSpPr>
            <a:spLocks noGrp="1" noChangeAspect="1"/>
          </p:cNvSpPr>
          <p:nvPr>
            <p:ph type="pic" sz="quarter" idx="17"/>
          </p:nvPr>
        </p:nvSpPr>
        <p:spPr>
          <a:xfrm>
            <a:off x="8393206" y="-2562763"/>
            <a:ext cx="1440599" cy="3099816"/>
          </a:xfrm>
          <a:custGeom>
            <a:avLst/>
            <a:gdLst>
              <a:gd name="connsiteX0" fmla="*/ 2345192 w 2857253"/>
              <a:gd name="connsiteY0" fmla="*/ 986 h 6164592"/>
              <a:gd name="connsiteX1" fmla="*/ 2508845 w 2857253"/>
              <a:gd name="connsiteY1" fmla="*/ 10328 h 6164592"/>
              <a:gd name="connsiteX2" fmla="*/ 2663147 w 2857253"/>
              <a:gd name="connsiteY2" fmla="*/ 36020 h 6164592"/>
              <a:gd name="connsiteX3" fmla="*/ 2829139 w 2857253"/>
              <a:gd name="connsiteY3" fmla="*/ 211188 h 6164592"/>
              <a:gd name="connsiteX4" fmla="*/ 2845504 w 2857253"/>
              <a:gd name="connsiteY4" fmla="*/ 559190 h 6164592"/>
              <a:gd name="connsiteX5" fmla="*/ 2833814 w 2857253"/>
              <a:gd name="connsiteY5" fmla="*/ 799756 h 6164592"/>
              <a:gd name="connsiteX6" fmla="*/ 2840828 w 2857253"/>
              <a:gd name="connsiteY6" fmla="*/ 1180456 h 6164592"/>
              <a:gd name="connsiteX7" fmla="*/ 2850180 w 2857253"/>
              <a:gd name="connsiteY7" fmla="*/ 1395330 h 6164592"/>
              <a:gd name="connsiteX8" fmla="*/ 2850180 w 2857253"/>
              <a:gd name="connsiteY8" fmla="*/ 5741852 h 6164592"/>
              <a:gd name="connsiteX9" fmla="*/ 2826801 w 2857253"/>
              <a:gd name="connsiteY9" fmla="*/ 5963732 h 6164592"/>
              <a:gd name="connsiteX10" fmla="*/ 2766015 w 2857253"/>
              <a:gd name="connsiteY10" fmla="*/ 6054820 h 6164592"/>
              <a:gd name="connsiteX11" fmla="*/ 2429356 w 2857253"/>
              <a:gd name="connsiteY11" fmla="*/ 6164592 h 6164592"/>
              <a:gd name="connsiteX12" fmla="*/ 362647 w 2857253"/>
              <a:gd name="connsiteY12" fmla="*/ 6162257 h 6164592"/>
              <a:gd name="connsiteX13" fmla="*/ 103139 w 2857253"/>
              <a:gd name="connsiteY13" fmla="*/ 6078176 h 6164592"/>
              <a:gd name="connsiteX14" fmla="*/ 7285 w 2857253"/>
              <a:gd name="connsiteY14" fmla="*/ 5828268 h 6164592"/>
              <a:gd name="connsiteX15" fmla="*/ 7285 w 2857253"/>
              <a:gd name="connsiteY15" fmla="*/ 3915425 h 6164592"/>
              <a:gd name="connsiteX16" fmla="*/ 7285 w 2857253"/>
              <a:gd name="connsiteY16" fmla="*/ 3214749 h 6164592"/>
              <a:gd name="connsiteX17" fmla="*/ 4947 w 2857253"/>
              <a:gd name="connsiteY17" fmla="*/ 687648 h 6164592"/>
              <a:gd name="connsiteX18" fmla="*/ 2609 w 2857253"/>
              <a:gd name="connsiteY18" fmla="*/ 398035 h 6164592"/>
              <a:gd name="connsiteX19" fmla="*/ 47029 w 2857253"/>
              <a:gd name="connsiteY19" fmla="*/ 152799 h 6164592"/>
              <a:gd name="connsiteX20" fmla="*/ 234062 w 2857253"/>
              <a:gd name="connsiteY20" fmla="*/ 22006 h 6164592"/>
              <a:gd name="connsiteX21" fmla="*/ 545003 w 2857253"/>
              <a:gd name="connsiteY21" fmla="*/ 7993 h 6164592"/>
              <a:gd name="connsiteX22" fmla="*/ 615141 w 2857253"/>
              <a:gd name="connsiteY22" fmla="*/ 85067 h 6164592"/>
              <a:gd name="connsiteX23" fmla="*/ 790484 w 2857253"/>
              <a:gd name="connsiteY23" fmla="*/ 250893 h 6164592"/>
              <a:gd name="connsiteX24" fmla="*/ 2022561 w 2857253"/>
              <a:gd name="connsiteY24" fmla="*/ 250893 h 6164592"/>
              <a:gd name="connsiteX25" fmla="*/ 2195566 w 2857253"/>
              <a:gd name="connsiteY25" fmla="*/ 178490 h 6164592"/>
              <a:gd name="connsiteX26" fmla="*/ 2230634 w 2857253"/>
              <a:gd name="connsiteY26" fmla="*/ 92074 h 6164592"/>
              <a:gd name="connsiteX27" fmla="*/ 2345192 w 2857253"/>
              <a:gd name="connsiteY27" fmla="*/ 986 h 6164592"/>
              <a:gd name="connsiteX0" fmla="*/ 2345192 w 2857253"/>
              <a:gd name="connsiteY0" fmla="*/ 986 h 6164592"/>
              <a:gd name="connsiteX1" fmla="*/ 2508845 w 2857253"/>
              <a:gd name="connsiteY1" fmla="*/ 10328 h 6164592"/>
              <a:gd name="connsiteX2" fmla="*/ 2663147 w 2857253"/>
              <a:gd name="connsiteY2" fmla="*/ 36020 h 6164592"/>
              <a:gd name="connsiteX3" fmla="*/ 2829139 w 2857253"/>
              <a:gd name="connsiteY3" fmla="*/ 211188 h 6164592"/>
              <a:gd name="connsiteX4" fmla="*/ 2845504 w 2857253"/>
              <a:gd name="connsiteY4" fmla="*/ 554819 h 6164592"/>
              <a:gd name="connsiteX5" fmla="*/ 2833814 w 2857253"/>
              <a:gd name="connsiteY5" fmla="*/ 799756 h 6164592"/>
              <a:gd name="connsiteX6" fmla="*/ 2840828 w 2857253"/>
              <a:gd name="connsiteY6" fmla="*/ 1180456 h 6164592"/>
              <a:gd name="connsiteX7" fmla="*/ 2850180 w 2857253"/>
              <a:gd name="connsiteY7" fmla="*/ 1395330 h 6164592"/>
              <a:gd name="connsiteX8" fmla="*/ 2850180 w 2857253"/>
              <a:gd name="connsiteY8" fmla="*/ 5741852 h 6164592"/>
              <a:gd name="connsiteX9" fmla="*/ 2826801 w 2857253"/>
              <a:gd name="connsiteY9" fmla="*/ 5963732 h 6164592"/>
              <a:gd name="connsiteX10" fmla="*/ 2766015 w 2857253"/>
              <a:gd name="connsiteY10" fmla="*/ 6054820 h 6164592"/>
              <a:gd name="connsiteX11" fmla="*/ 2429356 w 2857253"/>
              <a:gd name="connsiteY11" fmla="*/ 6164592 h 6164592"/>
              <a:gd name="connsiteX12" fmla="*/ 362647 w 2857253"/>
              <a:gd name="connsiteY12" fmla="*/ 6162257 h 6164592"/>
              <a:gd name="connsiteX13" fmla="*/ 103139 w 2857253"/>
              <a:gd name="connsiteY13" fmla="*/ 6078176 h 6164592"/>
              <a:gd name="connsiteX14" fmla="*/ 7285 w 2857253"/>
              <a:gd name="connsiteY14" fmla="*/ 5828268 h 6164592"/>
              <a:gd name="connsiteX15" fmla="*/ 7285 w 2857253"/>
              <a:gd name="connsiteY15" fmla="*/ 3915425 h 6164592"/>
              <a:gd name="connsiteX16" fmla="*/ 7285 w 2857253"/>
              <a:gd name="connsiteY16" fmla="*/ 3214749 h 6164592"/>
              <a:gd name="connsiteX17" fmla="*/ 4947 w 2857253"/>
              <a:gd name="connsiteY17" fmla="*/ 687648 h 6164592"/>
              <a:gd name="connsiteX18" fmla="*/ 2609 w 2857253"/>
              <a:gd name="connsiteY18" fmla="*/ 398035 h 6164592"/>
              <a:gd name="connsiteX19" fmla="*/ 47029 w 2857253"/>
              <a:gd name="connsiteY19" fmla="*/ 152799 h 6164592"/>
              <a:gd name="connsiteX20" fmla="*/ 234062 w 2857253"/>
              <a:gd name="connsiteY20" fmla="*/ 22006 h 6164592"/>
              <a:gd name="connsiteX21" fmla="*/ 545003 w 2857253"/>
              <a:gd name="connsiteY21" fmla="*/ 7993 h 6164592"/>
              <a:gd name="connsiteX22" fmla="*/ 615141 w 2857253"/>
              <a:gd name="connsiteY22" fmla="*/ 85067 h 6164592"/>
              <a:gd name="connsiteX23" fmla="*/ 790484 w 2857253"/>
              <a:gd name="connsiteY23" fmla="*/ 250893 h 6164592"/>
              <a:gd name="connsiteX24" fmla="*/ 2022561 w 2857253"/>
              <a:gd name="connsiteY24" fmla="*/ 250893 h 6164592"/>
              <a:gd name="connsiteX25" fmla="*/ 2195566 w 2857253"/>
              <a:gd name="connsiteY25" fmla="*/ 178490 h 6164592"/>
              <a:gd name="connsiteX26" fmla="*/ 2230634 w 2857253"/>
              <a:gd name="connsiteY26" fmla="*/ 92074 h 6164592"/>
              <a:gd name="connsiteX27" fmla="*/ 2345192 w 2857253"/>
              <a:gd name="connsiteY27" fmla="*/ 986 h 6164592"/>
              <a:gd name="connsiteX0" fmla="*/ 2345192 w 2857253"/>
              <a:gd name="connsiteY0" fmla="*/ 986 h 6164592"/>
              <a:gd name="connsiteX1" fmla="*/ 2508845 w 2857253"/>
              <a:gd name="connsiteY1" fmla="*/ 10328 h 6164592"/>
              <a:gd name="connsiteX2" fmla="*/ 2663147 w 2857253"/>
              <a:gd name="connsiteY2" fmla="*/ 36020 h 6164592"/>
              <a:gd name="connsiteX3" fmla="*/ 2829139 w 2857253"/>
              <a:gd name="connsiteY3" fmla="*/ 211188 h 6164592"/>
              <a:gd name="connsiteX4" fmla="*/ 2845504 w 2857253"/>
              <a:gd name="connsiteY4" fmla="*/ 554819 h 6164592"/>
              <a:gd name="connsiteX5" fmla="*/ 2851299 w 2857253"/>
              <a:gd name="connsiteY5" fmla="*/ 812870 h 6164592"/>
              <a:gd name="connsiteX6" fmla="*/ 2840828 w 2857253"/>
              <a:gd name="connsiteY6" fmla="*/ 1180456 h 6164592"/>
              <a:gd name="connsiteX7" fmla="*/ 2850180 w 2857253"/>
              <a:gd name="connsiteY7" fmla="*/ 1395330 h 6164592"/>
              <a:gd name="connsiteX8" fmla="*/ 2850180 w 2857253"/>
              <a:gd name="connsiteY8" fmla="*/ 5741852 h 6164592"/>
              <a:gd name="connsiteX9" fmla="*/ 2826801 w 2857253"/>
              <a:gd name="connsiteY9" fmla="*/ 5963732 h 6164592"/>
              <a:gd name="connsiteX10" fmla="*/ 2766015 w 2857253"/>
              <a:gd name="connsiteY10" fmla="*/ 6054820 h 6164592"/>
              <a:gd name="connsiteX11" fmla="*/ 2429356 w 2857253"/>
              <a:gd name="connsiteY11" fmla="*/ 6164592 h 6164592"/>
              <a:gd name="connsiteX12" fmla="*/ 362647 w 2857253"/>
              <a:gd name="connsiteY12" fmla="*/ 6162257 h 6164592"/>
              <a:gd name="connsiteX13" fmla="*/ 103139 w 2857253"/>
              <a:gd name="connsiteY13" fmla="*/ 6078176 h 6164592"/>
              <a:gd name="connsiteX14" fmla="*/ 7285 w 2857253"/>
              <a:gd name="connsiteY14" fmla="*/ 5828268 h 6164592"/>
              <a:gd name="connsiteX15" fmla="*/ 7285 w 2857253"/>
              <a:gd name="connsiteY15" fmla="*/ 3915425 h 6164592"/>
              <a:gd name="connsiteX16" fmla="*/ 7285 w 2857253"/>
              <a:gd name="connsiteY16" fmla="*/ 3214749 h 6164592"/>
              <a:gd name="connsiteX17" fmla="*/ 4947 w 2857253"/>
              <a:gd name="connsiteY17" fmla="*/ 687648 h 6164592"/>
              <a:gd name="connsiteX18" fmla="*/ 2609 w 2857253"/>
              <a:gd name="connsiteY18" fmla="*/ 398035 h 6164592"/>
              <a:gd name="connsiteX19" fmla="*/ 47029 w 2857253"/>
              <a:gd name="connsiteY19" fmla="*/ 152799 h 6164592"/>
              <a:gd name="connsiteX20" fmla="*/ 234062 w 2857253"/>
              <a:gd name="connsiteY20" fmla="*/ 22006 h 6164592"/>
              <a:gd name="connsiteX21" fmla="*/ 545003 w 2857253"/>
              <a:gd name="connsiteY21" fmla="*/ 7993 h 6164592"/>
              <a:gd name="connsiteX22" fmla="*/ 615141 w 2857253"/>
              <a:gd name="connsiteY22" fmla="*/ 85067 h 6164592"/>
              <a:gd name="connsiteX23" fmla="*/ 790484 w 2857253"/>
              <a:gd name="connsiteY23" fmla="*/ 250893 h 6164592"/>
              <a:gd name="connsiteX24" fmla="*/ 2022561 w 2857253"/>
              <a:gd name="connsiteY24" fmla="*/ 250893 h 6164592"/>
              <a:gd name="connsiteX25" fmla="*/ 2195566 w 2857253"/>
              <a:gd name="connsiteY25" fmla="*/ 178490 h 6164592"/>
              <a:gd name="connsiteX26" fmla="*/ 2230634 w 2857253"/>
              <a:gd name="connsiteY26" fmla="*/ 92074 h 6164592"/>
              <a:gd name="connsiteX27" fmla="*/ 2345192 w 2857253"/>
              <a:gd name="connsiteY27" fmla="*/ 986 h 6164592"/>
              <a:gd name="connsiteX0" fmla="*/ 2345192 w 2857253"/>
              <a:gd name="connsiteY0" fmla="*/ 986 h 6164592"/>
              <a:gd name="connsiteX1" fmla="*/ 2508845 w 2857253"/>
              <a:gd name="connsiteY1" fmla="*/ 10328 h 6164592"/>
              <a:gd name="connsiteX2" fmla="*/ 2663147 w 2857253"/>
              <a:gd name="connsiteY2" fmla="*/ 36020 h 6164592"/>
              <a:gd name="connsiteX3" fmla="*/ 2829139 w 2857253"/>
              <a:gd name="connsiteY3" fmla="*/ 211188 h 6164592"/>
              <a:gd name="connsiteX4" fmla="*/ 2845504 w 2857253"/>
              <a:gd name="connsiteY4" fmla="*/ 554819 h 6164592"/>
              <a:gd name="connsiteX5" fmla="*/ 2851299 w 2857253"/>
              <a:gd name="connsiteY5" fmla="*/ 812870 h 6164592"/>
              <a:gd name="connsiteX6" fmla="*/ 2853943 w 2857253"/>
              <a:gd name="connsiteY6" fmla="*/ 1184828 h 6164592"/>
              <a:gd name="connsiteX7" fmla="*/ 2850180 w 2857253"/>
              <a:gd name="connsiteY7" fmla="*/ 1395330 h 6164592"/>
              <a:gd name="connsiteX8" fmla="*/ 2850180 w 2857253"/>
              <a:gd name="connsiteY8" fmla="*/ 5741852 h 6164592"/>
              <a:gd name="connsiteX9" fmla="*/ 2826801 w 2857253"/>
              <a:gd name="connsiteY9" fmla="*/ 5963732 h 6164592"/>
              <a:gd name="connsiteX10" fmla="*/ 2766015 w 2857253"/>
              <a:gd name="connsiteY10" fmla="*/ 6054820 h 6164592"/>
              <a:gd name="connsiteX11" fmla="*/ 2429356 w 2857253"/>
              <a:gd name="connsiteY11" fmla="*/ 6164592 h 6164592"/>
              <a:gd name="connsiteX12" fmla="*/ 362647 w 2857253"/>
              <a:gd name="connsiteY12" fmla="*/ 6162257 h 6164592"/>
              <a:gd name="connsiteX13" fmla="*/ 103139 w 2857253"/>
              <a:gd name="connsiteY13" fmla="*/ 6078176 h 6164592"/>
              <a:gd name="connsiteX14" fmla="*/ 7285 w 2857253"/>
              <a:gd name="connsiteY14" fmla="*/ 5828268 h 6164592"/>
              <a:gd name="connsiteX15" fmla="*/ 7285 w 2857253"/>
              <a:gd name="connsiteY15" fmla="*/ 3915425 h 6164592"/>
              <a:gd name="connsiteX16" fmla="*/ 7285 w 2857253"/>
              <a:gd name="connsiteY16" fmla="*/ 3214749 h 6164592"/>
              <a:gd name="connsiteX17" fmla="*/ 4947 w 2857253"/>
              <a:gd name="connsiteY17" fmla="*/ 687648 h 6164592"/>
              <a:gd name="connsiteX18" fmla="*/ 2609 w 2857253"/>
              <a:gd name="connsiteY18" fmla="*/ 398035 h 6164592"/>
              <a:gd name="connsiteX19" fmla="*/ 47029 w 2857253"/>
              <a:gd name="connsiteY19" fmla="*/ 152799 h 6164592"/>
              <a:gd name="connsiteX20" fmla="*/ 234062 w 2857253"/>
              <a:gd name="connsiteY20" fmla="*/ 22006 h 6164592"/>
              <a:gd name="connsiteX21" fmla="*/ 545003 w 2857253"/>
              <a:gd name="connsiteY21" fmla="*/ 7993 h 6164592"/>
              <a:gd name="connsiteX22" fmla="*/ 615141 w 2857253"/>
              <a:gd name="connsiteY22" fmla="*/ 85067 h 6164592"/>
              <a:gd name="connsiteX23" fmla="*/ 790484 w 2857253"/>
              <a:gd name="connsiteY23" fmla="*/ 250893 h 6164592"/>
              <a:gd name="connsiteX24" fmla="*/ 2022561 w 2857253"/>
              <a:gd name="connsiteY24" fmla="*/ 250893 h 6164592"/>
              <a:gd name="connsiteX25" fmla="*/ 2195566 w 2857253"/>
              <a:gd name="connsiteY25" fmla="*/ 178490 h 6164592"/>
              <a:gd name="connsiteX26" fmla="*/ 2230634 w 2857253"/>
              <a:gd name="connsiteY26" fmla="*/ 92074 h 6164592"/>
              <a:gd name="connsiteX27" fmla="*/ 2345192 w 2857253"/>
              <a:gd name="connsiteY27" fmla="*/ 986 h 6164592"/>
              <a:gd name="connsiteX0" fmla="*/ 2345192 w 2860168"/>
              <a:gd name="connsiteY0" fmla="*/ 986 h 6164592"/>
              <a:gd name="connsiteX1" fmla="*/ 2508845 w 2860168"/>
              <a:gd name="connsiteY1" fmla="*/ 10328 h 6164592"/>
              <a:gd name="connsiteX2" fmla="*/ 2663147 w 2860168"/>
              <a:gd name="connsiteY2" fmla="*/ 36020 h 6164592"/>
              <a:gd name="connsiteX3" fmla="*/ 2829139 w 2860168"/>
              <a:gd name="connsiteY3" fmla="*/ 211188 h 6164592"/>
              <a:gd name="connsiteX4" fmla="*/ 2849875 w 2860168"/>
              <a:gd name="connsiteY4" fmla="*/ 554819 h 6164592"/>
              <a:gd name="connsiteX5" fmla="*/ 2851299 w 2860168"/>
              <a:gd name="connsiteY5" fmla="*/ 812870 h 6164592"/>
              <a:gd name="connsiteX6" fmla="*/ 2853943 w 2860168"/>
              <a:gd name="connsiteY6" fmla="*/ 1184828 h 6164592"/>
              <a:gd name="connsiteX7" fmla="*/ 2850180 w 2860168"/>
              <a:gd name="connsiteY7" fmla="*/ 1395330 h 6164592"/>
              <a:gd name="connsiteX8" fmla="*/ 2850180 w 2860168"/>
              <a:gd name="connsiteY8" fmla="*/ 5741852 h 6164592"/>
              <a:gd name="connsiteX9" fmla="*/ 2826801 w 2860168"/>
              <a:gd name="connsiteY9" fmla="*/ 5963732 h 6164592"/>
              <a:gd name="connsiteX10" fmla="*/ 2766015 w 2860168"/>
              <a:gd name="connsiteY10" fmla="*/ 6054820 h 6164592"/>
              <a:gd name="connsiteX11" fmla="*/ 2429356 w 2860168"/>
              <a:gd name="connsiteY11" fmla="*/ 6164592 h 6164592"/>
              <a:gd name="connsiteX12" fmla="*/ 362647 w 2860168"/>
              <a:gd name="connsiteY12" fmla="*/ 6162257 h 6164592"/>
              <a:gd name="connsiteX13" fmla="*/ 103139 w 2860168"/>
              <a:gd name="connsiteY13" fmla="*/ 6078176 h 6164592"/>
              <a:gd name="connsiteX14" fmla="*/ 7285 w 2860168"/>
              <a:gd name="connsiteY14" fmla="*/ 5828268 h 6164592"/>
              <a:gd name="connsiteX15" fmla="*/ 7285 w 2860168"/>
              <a:gd name="connsiteY15" fmla="*/ 3915425 h 6164592"/>
              <a:gd name="connsiteX16" fmla="*/ 7285 w 2860168"/>
              <a:gd name="connsiteY16" fmla="*/ 3214749 h 6164592"/>
              <a:gd name="connsiteX17" fmla="*/ 4947 w 2860168"/>
              <a:gd name="connsiteY17" fmla="*/ 687648 h 6164592"/>
              <a:gd name="connsiteX18" fmla="*/ 2609 w 2860168"/>
              <a:gd name="connsiteY18" fmla="*/ 398035 h 6164592"/>
              <a:gd name="connsiteX19" fmla="*/ 47029 w 2860168"/>
              <a:gd name="connsiteY19" fmla="*/ 152799 h 6164592"/>
              <a:gd name="connsiteX20" fmla="*/ 234062 w 2860168"/>
              <a:gd name="connsiteY20" fmla="*/ 22006 h 6164592"/>
              <a:gd name="connsiteX21" fmla="*/ 545003 w 2860168"/>
              <a:gd name="connsiteY21" fmla="*/ 7993 h 6164592"/>
              <a:gd name="connsiteX22" fmla="*/ 615141 w 2860168"/>
              <a:gd name="connsiteY22" fmla="*/ 85067 h 6164592"/>
              <a:gd name="connsiteX23" fmla="*/ 790484 w 2860168"/>
              <a:gd name="connsiteY23" fmla="*/ 250893 h 6164592"/>
              <a:gd name="connsiteX24" fmla="*/ 2022561 w 2860168"/>
              <a:gd name="connsiteY24" fmla="*/ 250893 h 6164592"/>
              <a:gd name="connsiteX25" fmla="*/ 2195566 w 2860168"/>
              <a:gd name="connsiteY25" fmla="*/ 178490 h 6164592"/>
              <a:gd name="connsiteX26" fmla="*/ 2230634 w 2860168"/>
              <a:gd name="connsiteY26" fmla="*/ 92074 h 6164592"/>
              <a:gd name="connsiteX27" fmla="*/ 2345192 w 2860168"/>
              <a:gd name="connsiteY27" fmla="*/ 986 h 6164592"/>
              <a:gd name="connsiteX0" fmla="*/ 2345192 w 2854520"/>
              <a:gd name="connsiteY0" fmla="*/ 986 h 6164592"/>
              <a:gd name="connsiteX1" fmla="*/ 2508845 w 2854520"/>
              <a:gd name="connsiteY1" fmla="*/ 10328 h 6164592"/>
              <a:gd name="connsiteX2" fmla="*/ 2663147 w 2854520"/>
              <a:gd name="connsiteY2" fmla="*/ 36020 h 6164592"/>
              <a:gd name="connsiteX3" fmla="*/ 2829139 w 2854520"/>
              <a:gd name="connsiteY3" fmla="*/ 211188 h 6164592"/>
              <a:gd name="connsiteX4" fmla="*/ 2849875 w 2854520"/>
              <a:gd name="connsiteY4" fmla="*/ 554819 h 6164592"/>
              <a:gd name="connsiteX5" fmla="*/ 2851299 w 2854520"/>
              <a:gd name="connsiteY5" fmla="*/ 812870 h 6164592"/>
              <a:gd name="connsiteX6" fmla="*/ 2853943 w 2854520"/>
              <a:gd name="connsiteY6" fmla="*/ 1184828 h 6164592"/>
              <a:gd name="connsiteX7" fmla="*/ 2850180 w 2854520"/>
              <a:gd name="connsiteY7" fmla="*/ 1395330 h 6164592"/>
              <a:gd name="connsiteX8" fmla="*/ 2850180 w 2854520"/>
              <a:gd name="connsiteY8" fmla="*/ 5741852 h 6164592"/>
              <a:gd name="connsiteX9" fmla="*/ 2826801 w 2854520"/>
              <a:gd name="connsiteY9" fmla="*/ 5963732 h 6164592"/>
              <a:gd name="connsiteX10" fmla="*/ 2766015 w 2854520"/>
              <a:gd name="connsiteY10" fmla="*/ 6054820 h 6164592"/>
              <a:gd name="connsiteX11" fmla="*/ 2429356 w 2854520"/>
              <a:gd name="connsiteY11" fmla="*/ 6164592 h 6164592"/>
              <a:gd name="connsiteX12" fmla="*/ 362647 w 2854520"/>
              <a:gd name="connsiteY12" fmla="*/ 6162257 h 6164592"/>
              <a:gd name="connsiteX13" fmla="*/ 103139 w 2854520"/>
              <a:gd name="connsiteY13" fmla="*/ 6078176 h 6164592"/>
              <a:gd name="connsiteX14" fmla="*/ 7285 w 2854520"/>
              <a:gd name="connsiteY14" fmla="*/ 5828268 h 6164592"/>
              <a:gd name="connsiteX15" fmla="*/ 7285 w 2854520"/>
              <a:gd name="connsiteY15" fmla="*/ 3915425 h 6164592"/>
              <a:gd name="connsiteX16" fmla="*/ 7285 w 2854520"/>
              <a:gd name="connsiteY16" fmla="*/ 3214749 h 6164592"/>
              <a:gd name="connsiteX17" fmla="*/ 4947 w 2854520"/>
              <a:gd name="connsiteY17" fmla="*/ 687648 h 6164592"/>
              <a:gd name="connsiteX18" fmla="*/ 2609 w 2854520"/>
              <a:gd name="connsiteY18" fmla="*/ 398035 h 6164592"/>
              <a:gd name="connsiteX19" fmla="*/ 47029 w 2854520"/>
              <a:gd name="connsiteY19" fmla="*/ 152799 h 6164592"/>
              <a:gd name="connsiteX20" fmla="*/ 234062 w 2854520"/>
              <a:gd name="connsiteY20" fmla="*/ 22006 h 6164592"/>
              <a:gd name="connsiteX21" fmla="*/ 545003 w 2854520"/>
              <a:gd name="connsiteY21" fmla="*/ 7993 h 6164592"/>
              <a:gd name="connsiteX22" fmla="*/ 615141 w 2854520"/>
              <a:gd name="connsiteY22" fmla="*/ 85067 h 6164592"/>
              <a:gd name="connsiteX23" fmla="*/ 790484 w 2854520"/>
              <a:gd name="connsiteY23" fmla="*/ 250893 h 6164592"/>
              <a:gd name="connsiteX24" fmla="*/ 2022561 w 2854520"/>
              <a:gd name="connsiteY24" fmla="*/ 250893 h 6164592"/>
              <a:gd name="connsiteX25" fmla="*/ 2195566 w 2854520"/>
              <a:gd name="connsiteY25" fmla="*/ 178490 h 6164592"/>
              <a:gd name="connsiteX26" fmla="*/ 2230634 w 2854520"/>
              <a:gd name="connsiteY26" fmla="*/ 92074 h 6164592"/>
              <a:gd name="connsiteX27" fmla="*/ 2345192 w 2854520"/>
              <a:gd name="connsiteY27" fmla="*/ 986 h 6164592"/>
              <a:gd name="connsiteX0" fmla="*/ 2345192 w 2854520"/>
              <a:gd name="connsiteY0" fmla="*/ 986 h 6164592"/>
              <a:gd name="connsiteX1" fmla="*/ 2508845 w 2854520"/>
              <a:gd name="connsiteY1" fmla="*/ 10328 h 6164592"/>
              <a:gd name="connsiteX2" fmla="*/ 2663147 w 2854520"/>
              <a:gd name="connsiteY2" fmla="*/ 36020 h 6164592"/>
              <a:gd name="connsiteX3" fmla="*/ 2829139 w 2854520"/>
              <a:gd name="connsiteY3" fmla="*/ 211188 h 6164592"/>
              <a:gd name="connsiteX4" fmla="*/ 2849875 w 2854520"/>
              <a:gd name="connsiteY4" fmla="*/ 554819 h 6164592"/>
              <a:gd name="connsiteX5" fmla="*/ 2851299 w 2854520"/>
              <a:gd name="connsiteY5" fmla="*/ 812870 h 6164592"/>
              <a:gd name="connsiteX6" fmla="*/ 2853943 w 2854520"/>
              <a:gd name="connsiteY6" fmla="*/ 1184828 h 6164592"/>
              <a:gd name="connsiteX7" fmla="*/ 2850180 w 2854520"/>
              <a:gd name="connsiteY7" fmla="*/ 1395330 h 6164592"/>
              <a:gd name="connsiteX8" fmla="*/ 2850180 w 2854520"/>
              <a:gd name="connsiteY8" fmla="*/ 5741852 h 6164592"/>
              <a:gd name="connsiteX9" fmla="*/ 2826801 w 2854520"/>
              <a:gd name="connsiteY9" fmla="*/ 5963732 h 6164592"/>
              <a:gd name="connsiteX10" fmla="*/ 2766015 w 2854520"/>
              <a:gd name="connsiteY10" fmla="*/ 6054820 h 6164592"/>
              <a:gd name="connsiteX11" fmla="*/ 2429356 w 2854520"/>
              <a:gd name="connsiteY11" fmla="*/ 6164592 h 6164592"/>
              <a:gd name="connsiteX12" fmla="*/ 362647 w 2854520"/>
              <a:gd name="connsiteY12" fmla="*/ 6162257 h 6164592"/>
              <a:gd name="connsiteX13" fmla="*/ 103139 w 2854520"/>
              <a:gd name="connsiteY13" fmla="*/ 6078176 h 6164592"/>
              <a:gd name="connsiteX14" fmla="*/ 7285 w 2854520"/>
              <a:gd name="connsiteY14" fmla="*/ 5828268 h 6164592"/>
              <a:gd name="connsiteX15" fmla="*/ 7285 w 2854520"/>
              <a:gd name="connsiteY15" fmla="*/ 3915425 h 6164592"/>
              <a:gd name="connsiteX16" fmla="*/ 7285 w 2854520"/>
              <a:gd name="connsiteY16" fmla="*/ 3214749 h 6164592"/>
              <a:gd name="connsiteX17" fmla="*/ 4947 w 2854520"/>
              <a:gd name="connsiteY17" fmla="*/ 687648 h 6164592"/>
              <a:gd name="connsiteX18" fmla="*/ 2609 w 2854520"/>
              <a:gd name="connsiteY18" fmla="*/ 398035 h 6164592"/>
              <a:gd name="connsiteX19" fmla="*/ 47029 w 2854520"/>
              <a:gd name="connsiteY19" fmla="*/ 152799 h 6164592"/>
              <a:gd name="connsiteX20" fmla="*/ 234062 w 2854520"/>
              <a:gd name="connsiteY20" fmla="*/ 22006 h 6164592"/>
              <a:gd name="connsiteX21" fmla="*/ 545003 w 2854520"/>
              <a:gd name="connsiteY21" fmla="*/ 7993 h 6164592"/>
              <a:gd name="connsiteX22" fmla="*/ 615141 w 2854520"/>
              <a:gd name="connsiteY22" fmla="*/ 85067 h 6164592"/>
              <a:gd name="connsiteX23" fmla="*/ 790484 w 2854520"/>
              <a:gd name="connsiteY23" fmla="*/ 250893 h 6164592"/>
              <a:gd name="connsiteX24" fmla="*/ 2022561 w 2854520"/>
              <a:gd name="connsiteY24" fmla="*/ 250893 h 6164592"/>
              <a:gd name="connsiteX25" fmla="*/ 2195566 w 2854520"/>
              <a:gd name="connsiteY25" fmla="*/ 178490 h 6164592"/>
              <a:gd name="connsiteX26" fmla="*/ 2230634 w 2854520"/>
              <a:gd name="connsiteY26" fmla="*/ 92074 h 6164592"/>
              <a:gd name="connsiteX27" fmla="*/ 2345192 w 2854520"/>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52799 h 6164592"/>
              <a:gd name="connsiteX20" fmla="*/ 234062 w 2860975"/>
              <a:gd name="connsiteY20" fmla="*/ 22006 h 6164592"/>
              <a:gd name="connsiteX21" fmla="*/ 545003 w 2860975"/>
              <a:gd name="connsiteY21" fmla="*/ 7993 h 6164592"/>
              <a:gd name="connsiteX22" fmla="*/ 615141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52799 h 6164592"/>
              <a:gd name="connsiteX20" fmla="*/ 234062 w 2860975"/>
              <a:gd name="connsiteY20" fmla="*/ 22006 h 6164592"/>
              <a:gd name="connsiteX21" fmla="*/ 545003 w 2860975"/>
              <a:gd name="connsiteY21" fmla="*/ 7993 h 6164592"/>
              <a:gd name="connsiteX22" fmla="*/ 615141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52799 h 6164592"/>
              <a:gd name="connsiteX20" fmla="*/ 234062 w 2860975"/>
              <a:gd name="connsiteY20" fmla="*/ 22006 h 6164592"/>
              <a:gd name="connsiteX21" fmla="*/ 545003 w 2860975"/>
              <a:gd name="connsiteY21" fmla="*/ 7993 h 6164592"/>
              <a:gd name="connsiteX22" fmla="*/ 641370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52799 h 6164592"/>
              <a:gd name="connsiteX20" fmla="*/ 234062 w 2860975"/>
              <a:gd name="connsiteY20" fmla="*/ 39492 h 6164592"/>
              <a:gd name="connsiteX21" fmla="*/ 545003 w 2860975"/>
              <a:gd name="connsiteY21" fmla="*/ 7993 h 6164592"/>
              <a:gd name="connsiteX22" fmla="*/ 641370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79028 h 6164592"/>
              <a:gd name="connsiteX20" fmla="*/ 234062 w 2860975"/>
              <a:gd name="connsiteY20" fmla="*/ 39492 h 6164592"/>
              <a:gd name="connsiteX21" fmla="*/ 545003 w 2860975"/>
              <a:gd name="connsiteY21" fmla="*/ 7993 h 6164592"/>
              <a:gd name="connsiteX22" fmla="*/ 641370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79028 h 6164592"/>
              <a:gd name="connsiteX20" fmla="*/ 234062 w 2860975"/>
              <a:gd name="connsiteY20" fmla="*/ 39492 h 6164592"/>
              <a:gd name="connsiteX21" fmla="*/ 545003 w 2860975"/>
              <a:gd name="connsiteY21" fmla="*/ 21107 h 6164592"/>
              <a:gd name="connsiteX22" fmla="*/ 641370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790484 w 2860975"/>
              <a:gd name="connsiteY23" fmla="*/ 242419 h 6156118"/>
              <a:gd name="connsiteX24" fmla="*/ 2022561 w 2860975"/>
              <a:gd name="connsiteY24" fmla="*/ 242419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790484 w 2860975"/>
              <a:gd name="connsiteY23" fmla="*/ 242419 h 6156118"/>
              <a:gd name="connsiteX24" fmla="*/ 2022561 w 2860975"/>
              <a:gd name="connsiteY24" fmla="*/ 242419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790484 w 2860975"/>
              <a:gd name="connsiteY23" fmla="*/ 242419 h 6156118"/>
              <a:gd name="connsiteX24" fmla="*/ 2022561 w 2860975"/>
              <a:gd name="connsiteY24" fmla="*/ 242419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790484 w 2860975"/>
              <a:gd name="connsiteY23" fmla="*/ 242419 h 6156118"/>
              <a:gd name="connsiteX24" fmla="*/ 2022561 w 2860975"/>
              <a:gd name="connsiteY24" fmla="*/ 242419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2561 w 2860975"/>
              <a:gd name="connsiteY24" fmla="*/ 242419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60776 w 2860975"/>
              <a:gd name="connsiteY25" fmla="*/ 163057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60776 w 2860975"/>
              <a:gd name="connsiteY25" fmla="*/ 163057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60776 w 2860975"/>
              <a:gd name="connsiteY25" fmla="*/ 163057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60776 w 2860975"/>
              <a:gd name="connsiteY25" fmla="*/ 163057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60776 w 2860975"/>
              <a:gd name="connsiteY25" fmla="*/ 163057 h 6156118"/>
              <a:gd name="connsiteX26" fmla="*/ 2205413 w 2860975"/>
              <a:gd name="connsiteY26" fmla="*/ 89905 h 6156118"/>
              <a:gd name="connsiteX27" fmla="*/ 2340821 w 2860975"/>
              <a:gd name="connsiteY27" fmla="*/ 5626 h 6156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860975" h="6156118">
                <a:moveTo>
                  <a:pt x="2340821" y="5626"/>
                </a:moveTo>
                <a:cubicBezTo>
                  <a:pt x="2394593" y="10297"/>
                  <a:pt x="2455073" y="-5153"/>
                  <a:pt x="2508845" y="1854"/>
                </a:cubicBezTo>
                <a:cubicBezTo>
                  <a:pt x="2560279" y="6525"/>
                  <a:pt x="2614051" y="11197"/>
                  <a:pt x="2663147" y="27546"/>
                </a:cubicBezTo>
                <a:cubicBezTo>
                  <a:pt x="2749650" y="55573"/>
                  <a:pt x="2805759" y="116298"/>
                  <a:pt x="2829139" y="202714"/>
                </a:cubicBezTo>
                <a:cubicBezTo>
                  <a:pt x="2861869" y="317158"/>
                  <a:pt x="2864207" y="422859"/>
                  <a:pt x="2858618" y="541973"/>
                </a:cubicBezTo>
                <a:cubicBezTo>
                  <a:pt x="2851299" y="627790"/>
                  <a:pt x="2852078" y="698666"/>
                  <a:pt x="2851299" y="804396"/>
                </a:cubicBezTo>
                <a:cubicBezTo>
                  <a:pt x="2850520" y="910126"/>
                  <a:pt x="2851605" y="1050232"/>
                  <a:pt x="2853943" y="1176354"/>
                </a:cubicBezTo>
                <a:cubicBezTo>
                  <a:pt x="2856281" y="1248757"/>
                  <a:pt x="2850807" y="627352"/>
                  <a:pt x="2850180" y="1386856"/>
                </a:cubicBezTo>
                <a:cubicBezTo>
                  <a:pt x="2849553" y="2146360"/>
                  <a:pt x="2850180" y="4284537"/>
                  <a:pt x="2850180" y="5733378"/>
                </a:cubicBezTo>
                <a:cubicBezTo>
                  <a:pt x="2850180" y="5808116"/>
                  <a:pt x="2840828" y="5882855"/>
                  <a:pt x="2826801" y="5955258"/>
                </a:cubicBezTo>
                <a:cubicBezTo>
                  <a:pt x="2819787" y="5987956"/>
                  <a:pt x="2791732" y="6020654"/>
                  <a:pt x="2766015" y="6046346"/>
                </a:cubicBezTo>
                <a:cubicBezTo>
                  <a:pt x="2674837" y="6142105"/>
                  <a:pt x="2555603" y="6156118"/>
                  <a:pt x="2429356" y="6156118"/>
                </a:cubicBezTo>
                <a:lnTo>
                  <a:pt x="362647" y="6153783"/>
                </a:lnTo>
                <a:cubicBezTo>
                  <a:pt x="269130" y="6153783"/>
                  <a:pt x="177952" y="6139769"/>
                  <a:pt x="103139" y="6069702"/>
                </a:cubicBezTo>
                <a:cubicBezTo>
                  <a:pt x="33002" y="6001970"/>
                  <a:pt x="7285" y="5913218"/>
                  <a:pt x="7285" y="5819794"/>
                </a:cubicBezTo>
                <a:cubicBezTo>
                  <a:pt x="4947" y="5182180"/>
                  <a:pt x="7285" y="4544565"/>
                  <a:pt x="7285" y="3906951"/>
                </a:cubicBezTo>
                <a:lnTo>
                  <a:pt x="7285" y="3206275"/>
                </a:lnTo>
                <a:cubicBezTo>
                  <a:pt x="7285" y="2363130"/>
                  <a:pt x="7285" y="1522319"/>
                  <a:pt x="4947" y="679174"/>
                </a:cubicBezTo>
                <a:cubicBezTo>
                  <a:pt x="4947" y="583415"/>
                  <a:pt x="-4405" y="485320"/>
                  <a:pt x="2609" y="389561"/>
                </a:cubicBezTo>
                <a:cubicBezTo>
                  <a:pt x="7285" y="307816"/>
                  <a:pt x="23650" y="249964"/>
                  <a:pt x="47029" y="170554"/>
                </a:cubicBezTo>
                <a:cubicBezTo>
                  <a:pt x="75084" y="84137"/>
                  <a:pt x="151066" y="57338"/>
                  <a:pt x="234062" y="31018"/>
                </a:cubicBezTo>
                <a:cubicBezTo>
                  <a:pt x="317058" y="4698"/>
                  <a:pt x="477118" y="5037"/>
                  <a:pt x="545003" y="12633"/>
                </a:cubicBezTo>
                <a:cubicBezTo>
                  <a:pt x="612888" y="20229"/>
                  <a:pt x="636694" y="29881"/>
                  <a:pt x="641370" y="76593"/>
                </a:cubicBezTo>
                <a:cubicBezTo>
                  <a:pt x="687972" y="205752"/>
                  <a:pt x="791992" y="193111"/>
                  <a:pt x="853104" y="193715"/>
                </a:cubicBezTo>
                <a:lnTo>
                  <a:pt x="2029518" y="193715"/>
                </a:lnTo>
                <a:cubicBezTo>
                  <a:pt x="2064606" y="188605"/>
                  <a:pt x="2108420" y="181980"/>
                  <a:pt x="2160776" y="163057"/>
                </a:cubicBezTo>
                <a:cubicBezTo>
                  <a:pt x="2179479" y="137366"/>
                  <a:pt x="2200737" y="120267"/>
                  <a:pt x="2205413" y="89905"/>
                </a:cubicBezTo>
                <a:cubicBezTo>
                  <a:pt x="2217103" y="22173"/>
                  <a:pt x="2251164" y="11733"/>
                  <a:pt x="2340821" y="5626"/>
                </a:cubicBezTo>
                <a:close/>
              </a:path>
            </a:pathLst>
          </a:custGeom>
          <a:blipFill>
            <a:blip r:embed="rId4"/>
            <a:stretch>
              <a:fillRect l="-121001" r="-138446" b="-5101"/>
            </a:stretch>
          </a:blipFill>
        </p:spPr>
        <p:txBody>
          <a:bodyPr wrap="square" anchor="ctr" anchorCtr="1">
            <a:noAutofit/>
          </a:bodyPr>
          <a:lstStyle>
            <a:lvl1pPr marL="0" indent="0">
              <a:buNone/>
              <a:defRPr/>
            </a:lvl1pPr>
          </a:lstStyle>
          <a:p>
            <a:endParaRPr lang="en-US"/>
          </a:p>
        </p:txBody>
      </p:sp>
      <p:sp>
        <p:nvSpPr>
          <p:cNvPr id="66" name="Picture Placeholder 3">
            <a:extLst>
              <a:ext uri="{FF2B5EF4-FFF2-40B4-BE49-F238E27FC236}">
                <a16:creationId xmlns:a16="http://schemas.microsoft.com/office/drawing/2014/main" id="{C4C777AA-5D57-9A44-8376-B14CBB20A45E}"/>
              </a:ext>
            </a:extLst>
          </p:cNvPr>
          <p:cNvSpPr>
            <a:spLocks noGrp="1" noChangeAspect="1"/>
          </p:cNvSpPr>
          <p:nvPr>
            <p:ph type="pic" sz="quarter" idx="18"/>
          </p:nvPr>
        </p:nvSpPr>
        <p:spPr>
          <a:xfrm>
            <a:off x="6398467" y="-1447646"/>
            <a:ext cx="1440599" cy="3099816"/>
          </a:xfrm>
          <a:custGeom>
            <a:avLst/>
            <a:gdLst>
              <a:gd name="connsiteX0" fmla="*/ 2345192 w 2857253"/>
              <a:gd name="connsiteY0" fmla="*/ 986 h 6164592"/>
              <a:gd name="connsiteX1" fmla="*/ 2508845 w 2857253"/>
              <a:gd name="connsiteY1" fmla="*/ 10328 h 6164592"/>
              <a:gd name="connsiteX2" fmla="*/ 2663147 w 2857253"/>
              <a:gd name="connsiteY2" fmla="*/ 36020 h 6164592"/>
              <a:gd name="connsiteX3" fmla="*/ 2829139 w 2857253"/>
              <a:gd name="connsiteY3" fmla="*/ 211188 h 6164592"/>
              <a:gd name="connsiteX4" fmla="*/ 2845504 w 2857253"/>
              <a:gd name="connsiteY4" fmla="*/ 559190 h 6164592"/>
              <a:gd name="connsiteX5" fmla="*/ 2833814 w 2857253"/>
              <a:gd name="connsiteY5" fmla="*/ 799756 h 6164592"/>
              <a:gd name="connsiteX6" fmla="*/ 2840828 w 2857253"/>
              <a:gd name="connsiteY6" fmla="*/ 1180456 h 6164592"/>
              <a:gd name="connsiteX7" fmla="*/ 2850180 w 2857253"/>
              <a:gd name="connsiteY7" fmla="*/ 1395330 h 6164592"/>
              <a:gd name="connsiteX8" fmla="*/ 2850180 w 2857253"/>
              <a:gd name="connsiteY8" fmla="*/ 5741852 h 6164592"/>
              <a:gd name="connsiteX9" fmla="*/ 2826801 w 2857253"/>
              <a:gd name="connsiteY9" fmla="*/ 5963732 h 6164592"/>
              <a:gd name="connsiteX10" fmla="*/ 2766015 w 2857253"/>
              <a:gd name="connsiteY10" fmla="*/ 6054820 h 6164592"/>
              <a:gd name="connsiteX11" fmla="*/ 2429356 w 2857253"/>
              <a:gd name="connsiteY11" fmla="*/ 6164592 h 6164592"/>
              <a:gd name="connsiteX12" fmla="*/ 362647 w 2857253"/>
              <a:gd name="connsiteY12" fmla="*/ 6162257 h 6164592"/>
              <a:gd name="connsiteX13" fmla="*/ 103139 w 2857253"/>
              <a:gd name="connsiteY13" fmla="*/ 6078176 h 6164592"/>
              <a:gd name="connsiteX14" fmla="*/ 7285 w 2857253"/>
              <a:gd name="connsiteY14" fmla="*/ 5828268 h 6164592"/>
              <a:gd name="connsiteX15" fmla="*/ 7285 w 2857253"/>
              <a:gd name="connsiteY15" fmla="*/ 3915425 h 6164592"/>
              <a:gd name="connsiteX16" fmla="*/ 7285 w 2857253"/>
              <a:gd name="connsiteY16" fmla="*/ 3214749 h 6164592"/>
              <a:gd name="connsiteX17" fmla="*/ 4947 w 2857253"/>
              <a:gd name="connsiteY17" fmla="*/ 687648 h 6164592"/>
              <a:gd name="connsiteX18" fmla="*/ 2609 w 2857253"/>
              <a:gd name="connsiteY18" fmla="*/ 398035 h 6164592"/>
              <a:gd name="connsiteX19" fmla="*/ 47029 w 2857253"/>
              <a:gd name="connsiteY19" fmla="*/ 152799 h 6164592"/>
              <a:gd name="connsiteX20" fmla="*/ 234062 w 2857253"/>
              <a:gd name="connsiteY20" fmla="*/ 22006 h 6164592"/>
              <a:gd name="connsiteX21" fmla="*/ 545003 w 2857253"/>
              <a:gd name="connsiteY21" fmla="*/ 7993 h 6164592"/>
              <a:gd name="connsiteX22" fmla="*/ 615141 w 2857253"/>
              <a:gd name="connsiteY22" fmla="*/ 85067 h 6164592"/>
              <a:gd name="connsiteX23" fmla="*/ 790484 w 2857253"/>
              <a:gd name="connsiteY23" fmla="*/ 250893 h 6164592"/>
              <a:gd name="connsiteX24" fmla="*/ 2022561 w 2857253"/>
              <a:gd name="connsiteY24" fmla="*/ 250893 h 6164592"/>
              <a:gd name="connsiteX25" fmla="*/ 2195566 w 2857253"/>
              <a:gd name="connsiteY25" fmla="*/ 178490 h 6164592"/>
              <a:gd name="connsiteX26" fmla="*/ 2230634 w 2857253"/>
              <a:gd name="connsiteY26" fmla="*/ 92074 h 6164592"/>
              <a:gd name="connsiteX27" fmla="*/ 2345192 w 2857253"/>
              <a:gd name="connsiteY27" fmla="*/ 986 h 6164592"/>
              <a:gd name="connsiteX0" fmla="*/ 2345192 w 2857253"/>
              <a:gd name="connsiteY0" fmla="*/ 986 h 6164592"/>
              <a:gd name="connsiteX1" fmla="*/ 2508845 w 2857253"/>
              <a:gd name="connsiteY1" fmla="*/ 10328 h 6164592"/>
              <a:gd name="connsiteX2" fmla="*/ 2663147 w 2857253"/>
              <a:gd name="connsiteY2" fmla="*/ 36020 h 6164592"/>
              <a:gd name="connsiteX3" fmla="*/ 2829139 w 2857253"/>
              <a:gd name="connsiteY3" fmla="*/ 211188 h 6164592"/>
              <a:gd name="connsiteX4" fmla="*/ 2845504 w 2857253"/>
              <a:gd name="connsiteY4" fmla="*/ 554819 h 6164592"/>
              <a:gd name="connsiteX5" fmla="*/ 2833814 w 2857253"/>
              <a:gd name="connsiteY5" fmla="*/ 799756 h 6164592"/>
              <a:gd name="connsiteX6" fmla="*/ 2840828 w 2857253"/>
              <a:gd name="connsiteY6" fmla="*/ 1180456 h 6164592"/>
              <a:gd name="connsiteX7" fmla="*/ 2850180 w 2857253"/>
              <a:gd name="connsiteY7" fmla="*/ 1395330 h 6164592"/>
              <a:gd name="connsiteX8" fmla="*/ 2850180 w 2857253"/>
              <a:gd name="connsiteY8" fmla="*/ 5741852 h 6164592"/>
              <a:gd name="connsiteX9" fmla="*/ 2826801 w 2857253"/>
              <a:gd name="connsiteY9" fmla="*/ 5963732 h 6164592"/>
              <a:gd name="connsiteX10" fmla="*/ 2766015 w 2857253"/>
              <a:gd name="connsiteY10" fmla="*/ 6054820 h 6164592"/>
              <a:gd name="connsiteX11" fmla="*/ 2429356 w 2857253"/>
              <a:gd name="connsiteY11" fmla="*/ 6164592 h 6164592"/>
              <a:gd name="connsiteX12" fmla="*/ 362647 w 2857253"/>
              <a:gd name="connsiteY12" fmla="*/ 6162257 h 6164592"/>
              <a:gd name="connsiteX13" fmla="*/ 103139 w 2857253"/>
              <a:gd name="connsiteY13" fmla="*/ 6078176 h 6164592"/>
              <a:gd name="connsiteX14" fmla="*/ 7285 w 2857253"/>
              <a:gd name="connsiteY14" fmla="*/ 5828268 h 6164592"/>
              <a:gd name="connsiteX15" fmla="*/ 7285 w 2857253"/>
              <a:gd name="connsiteY15" fmla="*/ 3915425 h 6164592"/>
              <a:gd name="connsiteX16" fmla="*/ 7285 w 2857253"/>
              <a:gd name="connsiteY16" fmla="*/ 3214749 h 6164592"/>
              <a:gd name="connsiteX17" fmla="*/ 4947 w 2857253"/>
              <a:gd name="connsiteY17" fmla="*/ 687648 h 6164592"/>
              <a:gd name="connsiteX18" fmla="*/ 2609 w 2857253"/>
              <a:gd name="connsiteY18" fmla="*/ 398035 h 6164592"/>
              <a:gd name="connsiteX19" fmla="*/ 47029 w 2857253"/>
              <a:gd name="connsiteY19" fmla="*/ 152799 h 6164592"/>
              <a:gd name="connsiteX20" fmla="*/ 234062 w 2857253"/>
              <a:gd name="connsiteY20" fmla="*/ 22006 h 6164592"/>
              <a:gd name="connsiteX21" fmla="*/ 545003 w 2857253"/>
              <a:gd name="connsiteY21" fmla="*/ 7993 h 6164592"/>
              <a:gd name="connsiteX22" fmla="*/ 615141 w 2857253"/>
              <a:gd name="connsiteY22" fmla="*/ 85067 h 6164592"/>
              <a:gd name="connsiteX23" fmla="*/ 790484 w 2857253"/>
              <a:gd name="connsiteY23" fmla="*/ 250893 h 6164592"/>
              <a:gd name="connsiteX24" fmla="*/ 2022561 w 2857253"/>
              <a:gd name="connsiteY24" fmla="*/ 250893 h 6164592"/>
              <a:gd name="connsiteX25" fmla="*/ 2195566 w 2857253"/>
              <a:gd name="connsiteY25" fmla="*/ 178490 h 6164592"/>
              <a:gd name="connsiteX26" fmla="*/ 2230634 w 2857253"/>
              <a:gd name="connsiteY26" fmla="*/ 92074 h 6164592"/>
              <a:gd name="connsiteX27" fmla="*/ 2345192 w 2857253"/>
              <a:gd name="connsiteY27" fmla="*/ 986 h 6164592"/>
              <a:gd name="connsiteX0" fmla="*/ 2345192 w 2857253"/>
              <a:gd name="connsiteY0" fmla="*/ 986 h 6164592"/>
              <a:gd name="connsiteX1" fmla="*/ 2508845 w 2857253"/>
              <a:gd name="connsiteY1" fmla="*/ 10328 h 6164592"/>
              <a:gd name="connsiteX2" fmla="*/ 2663147 w 2857253"/>
              <a:gd name="connsiteY2" fmla="*/ 36020 h 6164592"/>
              <a:gd name="connsiteX3" fmla="*/ 2829139 w 2857253"/>
              <a:gd name="connsiteY3" fmla="*/ 211188 h 6164592"/>
              <a:gd name="connsiteX4" fmla="*/ 2845504 w 2857253"/>
              <a:gd name="connsiteY4" fmla="*/ 554819 h 6164592"/>
              <a:gd name="connsiteX5" fmla="*/ 2851299 w 2857253"/>
              <a:gd name="connsiteY5" fmla="*/ 812870 h 6164592"/>
              <a:gd name="connsiteX6" fmla="*/ 2840828 w 2857253"/>
              <a:gd name="connsiteY6" fmla="*/ 1180456 h 6164592"/>
              <a:gd name="connsiteX7" fmla="*/ 2850180 w 2857253"/>
              <a:gd name="connsiteY7" fmla="*/ 1395330 h 6164592"/>
              <a:gd name="connsiteX8" fmla="*/ 2850180 w 2857253"/>
              <a:gd name="connsiteY8" fmla="*/ 5741852 h 6164592"/>
              <a:gd name="connsiteX9" fmla="*/ 2826801 w 2857253"/>
              <a:gd name="connsiteY9" fmla="*/ 5963732 h 6164592"/>
              <a:gd name="connsiteX10" fmla="*/ 2766015 w 2857253"/>
              <a:gd name="connsiteY10" fmla="*/ 6054820 h 6164592"/>
              <a:gd name="connsiteX11" fmla="*/ 2429356 w 2857253"/>
              <a:gd name="connsiteY11" fmla="*/ 6164592 h 6164592"/>
              <a:gd name="connsiteX12" fmla="*/ 362647 w 2857253"/>
              <a:gd name="connsiteY12" fmla="*/ 6162257 h 6164592"/>
              <a:gd name="connsiteX13" fmla="*/ 103139 w 2857253"/>
              <a:gd name="connsiteY13" fmla="*/ 6078176 h 6164592"/>
              <a:gd name="connsiteX14" fmla="*/ 7285 w 2857253"/>
              <a:gd name="connsiteY14" fmla="*/ 5828268 h 6164592"/>
              <a:gd name="connsiteX15" fmla="*/ 7285 w 2857253"/>
              <a:gd name="connsiteY15" fmla="*/ 3915425 h 6164592"/>
              <a:gd name="connsiteX16" fmla="*/ 7285 w 2857253"/>
              <a:gd name="connsiteY16" fmla="*/ 3214749 h 6164592"/>
              <a:gd name="connsiteX17" fmla="*/ 4947 w 2857253"/>
              <a:gd name="connsiteY17" fmla="*/ 687648 h 6164592"/>
              <a:gd name="connsiteX18" fmla="*/ 2609 w 2857253"/>
              <a:gd name="connsiteY18" fmla="*/ 398035 h 6164592"/>
              <a:gd name="connsiteX19" fmla="*/ 47029 w 2857253"/>
              <a:gd name="connsiteY19" fmla="*/ 152799 h 6164592"/>
              <a:gd name="connsiteX20" fmla="*/ 234062 w 2857253"/>
              <a:gd name="connsiteY20" fmla="*/ 22006 h 6164592"/>
              <a:gd name="connsiteX21" fmla="*/ 545003 w 2857253"/>
              <a:gd name="connsiteY21" fmla="*/ 7993 h 6164592"/>
              <a:gd name="connsiteX22" fmla="*/ 615141 w 2857253"/>
              <a:gd name="connsiteY22" fmla="*/ 85067 h 6164592"/>
              <a:gd name="connsiteX23" fmla="*/ 790484 w 2857253"/>
              <a:gd name="connsiteY23" fmla="*/ 250893 h 6164592"/>
              <a:gd name="connsiteX24" fmla="*/ 2022561 w 2857253"/>
              <a:gd name="connsiteY24" fmla="*/ 250893 h 6164592"/>
              <a:gd name="connsiteX25" fmla="*/ 2195566 w 2857253"/>
              <a:gd name="connsiteY25" fmla="*/ 178490 h 6164592"/>
              <a:gd name="connsiteX26" fmla="*/ 2230634 w 2857253"/>
              <a:gd name="connsiteY26" fmla="*/ 92074 h 6164592"/>
              <a:gd name="connsiteX27" fmla="*/ 2345192 w 2857253"/>
              <a:gd name="connsiteY27" fmla="*/ 986 h 6164592"/>
              <a:gd name="connsiteX0" fmla="*/ 2345192 w 2857253"/>
              <a:gd name="connsiteY0" fmla="*/ 986 h 6164592"/>
              <a:gd name="connsiteX1" fmla="*/ 2508845 w 2857253"/>
              <a:gd name="connsiteY1" fmla="*/ 10328 h 6164592"/>
              <a:gd name="connsiteX2" fmla="*/ 2663147 w 2857253"/>
              <a:gd name="connsiteY2" fmla="*/ 36020 h 6164592"/>
              <a:gd name="connsiteX3" fmla="*/ 2829139 w 2857253"/>
              <a:gd name="connsiteY3" fmla="*/ 211188 h 6164592"/>
              <a:gd name="connsiteX4" fmla="*/ 2845504 w 2857253"/>
              <a:gd name="connsiteY4" fmla="*/ 554819 h 6164592"/>
              <a:gd name="connsiteX5" fmla="*/ 2851299 w 2857253"/>
              <a:gd name="connsiteY5" fmla="*/ 812870 h 6164592"/>
              <a:gd name="connsiteX6" fmla="*/ 2853943 w 2857253"/>
              <a:gd name="connsiteY6" fmla="*/ 1184828 h 6164592"/>
              <a:gd name="connsiteX7" fmla="*/ 2850180 w 2857253"/>
              <a:gd name="connsiteY7" fmla="*/ 1395330 h 6164592"/>
              <a:gd name="connsiteX8" fmla="*/ 2850180 w 2857253"/>
              <a:gd name="connsiteY8" fmla="*/ 5741852 h 6164592"/>
              <a:gd name="connsiteX9" fmla="*/ 2826801 w 2857253"/>
              <a:gd name="connsiteY9" fmla="*/ 5963732 h 6164592"/>
              <a:gd name="connsiteX10" fmla="*/ 2766015 w 2857253"/>
              <a:gd name="connsiteY10" fmla="*/ 6054820 h 6164592"/>
              <a:gd name="connsiteX11" fmla="*/ 2429356 w 2857253"/>
              <a:gd name="connsiteY11" fmla="*/ 6164592 h 6164592"/>
              <a:gd name="connsiteX12" fmla="*/ 362647 w 2857253"/>
              <a:gd name="connsiteY12" fmla="*/ 6162257 h 6164592"/>
              <a:gd name="connsiteX13" fmla="*/ 103139 w 2857253"/>
              <a:gd name="connsiteY13" fmla="*/ 6078176 h 6164592"/>
              <a:gd name="connsiteX14" fmla="*/ 7285 w 2857253"/>
              <a:gd name="connsiteY14" fmla="*/ 5828268 h 6164592"/>
              <a:gd name="connsiteX15" fmla="*/ 7285 w 2857253"/>
              <a:gd name="connsiteY15" fmla="*/ 3915425 h 6164592"/>
              <a:gd name="connsiteX16" fmla="*/ 7285 w 2857253"/>
              <a:gd name="connsiteY16" fmla="*/ 3214749 h 6164592"/>
              <a:gd name="connsiteX17" fmla="*/ 4947 w 2857253"/>
              <a:gd name="connsiteY17" fmla="*/ 687648 h 6164592"/>
              <a:gd name="connsiteX18" fmla="*/ 2609 w 2857253"/>
              <a:gd name="connsiteY18" fmla="*/ 398035 h 6164592"/>
              <a:gd name="connsiteX19" fmla="*/ 47029 w 2857253"/>
              <a:gd name="connsiteY19" fmla="*/ 152799 h 6164592"/>
              <a:gd name="connsiteX20" fmla="*/ 234062 w 2857253"/>
              <a:gd name="connsiteY20" fmla="*/ 22006 h 6164592"/>
              <a:gd name="connsiteX21" fmla="*/ 545003 w 2857253"/>
              <a:gd name="connsiteY21" fmla="*/ 7993 h 6164592"/>
              <a:gd name="connsiteX22" fmla="*/ 615141 w 2857253"/>
              <a:gd name="connsiteY22" fmla="*/ 85067 h 6164592"/>
              <a:gd name="connsiteX23" fmla="*/ 790484 w 2857253"/>
              <a:gd name="connsiteY23" fmla="*/ 250893 h 6164592"/>
              <a:gd name="connsiteX24" fmla="*/ 2022561 w 2857253"/>
              <a:gd name="connsiteY24" fmla="*/ 250893 h 6164592"/>
              <a:gd name="connsiteX25" fmla="*/ 2195566 w 2857253"/>
              <a:gd name="connsiteY25" fmla="*/ 178490 h 6164592"/>
              <a:gd name="connsiteX26" fmla="*/ 2230634 w 2857253"/>
              <a:gd name="connsiteY26" fmla="*/ 92074 h 6164592"/>
              <a:gd name="connsiteX27" fmla="*/ 2345192 w 2857253"/>
              <a:gd name="connsiteY27" fmla="*/ 986 h 6164592"/>
              <a:gd name="connsiteX0" fmla="*/ 2345192 w 2860168"/>
              <a:gd name="connsiteY0" fmla="*/ 986 h 6164592"/>
              <a:gd name="connsiteX1" fmla="*/ 2508845 w 2860168"/>
              <a:gd name="connsiteY1" fmla="*/ 10328 h 6164592"/>
              <a:gd name="connsiteX2" fmla="*/ 2663147 w 2860168"/>
              <a:gd name="connsiteY2" fmla="*/ 36020 h 6164592"/>
              <a:gd name="connsiteX3" fmla="*/ 2829139 w 2860168"/>
              <a:gd name="connsiteY3" fmla="*/ 211188 h 6164592"/>
              <a:gd name="connsiteX4" fmla="*/ 2849875 w 2860168"/>
              <a:gd name="connsiteY4" fmla="*/ 554819 h 6164592"/>
              <a:gd name="connsiteX5" fmla="*/ 2851299 w 2860168"/>
              <a:gd name="connsiteY5" fmla="*/ 812870 h 6164592"/>
              <a:gd name="connsiteX6" fmla="*/ 2853943 w 2860168"/>
              <a:gd name="connsiteY6" fmla="*/ 1184828 h 6164592"/>
              <a:gd name="connsiteX7" fmla="*/ 2850180 w 2860168"/>
              <a:gd name="connsiteY7" fmla="*/ 1395330 h 6164592"/>
              <a:gd name="connsiteX8" fmla="*/ 2850180 w 2860168"/>
              <a:gd name="connsiteY8" fmla="*/ 5741852 h 6164592"/>
              <a:gd name="connsiteX9" fmla="*/ 2826801 w 2860168"/>
              <a:gd name="connsiteY9" fmla="*/ 5963732 h 6164592"/>
              <a:gd name="connsiteX10" fmla="*/ 2766015 w 2860168"/>
              <a:gd name="connsiteY10" fmla="*/ 6054820 h 6164592"/>
              <a:gd name="connsiteX11" fmla="*/ 2429356 w 2860168"/>
              <a:gd name="connsiteY11" fmla="*/ 6164592 h 6164592"/>
              <a:gd name="connsiteX12" fmla="*/ 362647 w 2860168"/>
              <a:gd name="connsiteY12" fmla="*/ 6162257 h 6164592"/>
              <a:gd name="connsiteX13" fmla="*/ 103139 w 2860168"/>
              <a:gd name="connsiteY13" fmla="*/ 6078176 h 6164592"/>
              <a:gd name="connsiteX14" fmla="*/ 7285 w 2860168"/>
              <a:gd name="connsiteY14" fmla="*/ 5828268 h 6164592"/>
              <a:gd name="connsiteX15" fmla="*/ 7285 w 2860168"/>
              <a:gd name="connsiteY15" fmla="*/ 3915425 h 6164592"/>
              <a:gd name="connsiteX16" fmla="*/ 7285 w 2860168"/>
              <a:gd name="connsiteY16" fmla="*/ 3214749 h 6164592"/>
              <a:gd name="connsiteX17" fmla="*/ 4947 w 2860168"/>
              <a:gd name="connsiteY17" fmla="*/ 687648 h 6164592"/>
              <a:gd name="connsiteX18" fmla="*/ 2609 w 2860168"/>
              <a:gd name="connsiteY18" fmla="*/ 398035 h 6164592"/>
              <a:gd name="connsiteX19" fmla="*/ 47029 w 2860168"/>
              <a:gd name="connsiteY19" fmla="*/ 152799 h 6164592"/>
              <a:gd name="connsiteX20" fmla="*/ 234062 w 2860168"/>
              <a:gd name="connsiteY20" fmla="*/ 22006 h 6164592"/>
              <a:gd name="connsiteX21" fmla="*/ 545003 w 2860168"/>
              <a:gd name="connsiteY21" fmla="*/ 7993 h 6164592"/>
              <a:gd name="connsiteX22" fmla="*/ 615141 w 2860168"/>
              <a:gd name="connsiteY22" fmla="*/ 85067 h 6164592"/>
              <a:gd name="connsiteX23" fmla="*/ 790484 w 2860168"/>
              <a:gd name="connsiteY23" fmla="*/ 250893 h 6164592"/>
              <a:gd name="connsiteX24" fmla="*/ 2022561 w 2860168"/>
              <a:gd name="connsiteY24" fmla="*/ 250893 h 6164592"/>
              <a:gd name="connsiteX25" fmla="*/ 2195566 w 2860168"/>
              <a:gd name="connsiteY25" fmla="*/ 178490 h 6164592"/>
              <a:gd name="connsiteX26" fmla="*/ 2230634 w 2860168"/>
              <a:gd name="connsiteY26" fmla="*/ 92074 h 6164592"/>
              <a:gd name="connsiteX27" fmla="*/ 2345192 w 2860168"/>
              <a:gd name="connsiteY27" fmla="*/ 986 h 6164592"/>
              <a:gd name="connsiteX0" fmla="*/ 2345192 w 2854520"/>
              <a:gd name="connsiteY0" fmla="*/ 986 h 6164592"/>
              <a:gd name="connsiteX1" fmla="*/ 2508845 w 2854520"/>
              <a:gd name="connsiteY1" fmla="*/ 10328 h 6164592"/>
              <a:gd name="connsiteX2" fmla="*/ 2663147 w 2854520"/>
              <a:gd name="connsiteY2" fmla="*/ 36020 h 6164592"/>
              <a:gd name="connsiteX3" fmla="*/ 2829139 w 2854520"/>
              <a:gd name="connsiteY3" fmla="*/ 211188 h 6164592"/>
              <a:gd name="connsiteX4" fmla="*/ 2849875 w 2854520"/>
              <a:gd name="connsiteY4" fmla="*/ 554819 h 6164592"/>
              <a:gd name="connsiteX5" fmla="*/ 2851299 w 2854520"/>
              <a:gd name="connsiteY5" fmla="*/ 812870 h 6164592"/>
              <a:gd name="connsiteX6" fmla="*/ 2853943 w 2854520"/>
              <a:gd name="connsiteY6" fmla="*/ 1184828 h 6164592"/>
              <a:gd name="connsiteX7" fmla="*/ 2850180 w 2854520"/>
              <a:gd name="connsiteY7" fmla="*/ 1395330 h 6164592"/>
              <a:gd name="connsiteX8" fmla="*/ 2850180 w 2854520"/>
              <a:gd name="connsiteY8" fmla="*/ 5741852 h 6164592"/>
              <a:gd name="connsiteX9" fmla="*/ 2826801 w 2854520"/>
              <a:gd name="connsiteY9" fmla="*/ 5963732 h 6164592"/>
              <a:gd name="connsiteX10" fmla="*/ 2766015 w 2854520"/>
              <a:gd name="connsiteY10" fmla="*/ 6054820 h 6164592"/>
              <a:gd name="connsiteX11" fmla="*/ 2429356 w 2854520"/>
              <a:gd name="connsiteY11" fmla="*/ 6164592 h 6164592"/>
              <a:gd name="connsiteX12" fmla="*/ 362647 w 2854520"/>
              <a:gd name="connsiteY12" fmla="*/ 6162257 h 6164592"/>
              <a:gd name="connsiteX13" fmla="*/ 103139 w 2854520"/>
              <a:gd name="connsiteY13" fmla="*/ 6078176 h 6164592"/>
              <a:gd name="connsiteX14" fmla="*/ 7285 w 2854520"/>
              <a:gd name="connsiteY14" fmla="*/ 5828268 h 6164592"/>
              <a:gd name="connsiteX15" fmla="*/ 7285 w 2854520"/>
              <a:gd name="connsiteY15" fmla="*/ 3915425 h 6164592"/>
              <a:gd name="connsiteX16" fmla="*/ 7285 w 2854520"/>
              <a:gd name="connsiteY16" fmla="*/ 3214749 h 6164592"/>
              <a:gd name="connsiteX17" fmla="*/ 4947 w 2854520"/>
              <a:gd name="connsiteY17" fmla="*/ 687648 h 6164592"/>
              <a:gd name="connsiteX18" fmla="*/ 2609 w 2854520"/>
              <a:gd name="connsiteY18" fmla="*/ 398035 h 6164592"/>
              <a:gd name="connsiteX19" fmla="*/ 47029 w 2854520"/>
              <a:gd name="connsiteY19" fmla="*/ 152799 h 6164592"/>
              <a:gd name="connsiteX20" fmla="*/ 234062 w 2854520"/>
              <a:gd name="connsiteY20" fmla="*/ 22006 h 6164592"/>
              <a:gd name="connsiteX21" fmla="*/ 545003 w 2854520"/>
              <a:gd name="connsiteY21" fmla="*/ 7993 h 6164592"/>
              <a:gd name="connsiteX22" fmla="*/ 615141 w 2854520"/>
              <a:gd name="connsiteY22" fmla="*/ 85067 h 6164592"/>
              <a:gd name="connsiteX23" fmla="*/ 790484 w 2854520"/>
              <a:gd name="connsiteY23" fmla="*/ 250893 h 6164592"/>
              <a:gd name="connsiteX24" fmla="*/ 2022561 w 2854520"/>
              <a:gd name="connsiteY24" fmla="*/ 250893 h 6164592"/>
              <a:gd name="connsiteX25" fmla="*/ 2195566 w 2854520"/>
              <a:gd name="connsiteY25" fmla="*/ 178490 h 6164592"/>
              <a:gd name="connsiteX26" fmla="*/ 2230634 w 2854520"/>
              <a:gd name="connsiteY26" fmla="*/ 92074 h 6164592"/>
              <a:gd name="connsiteX27" fmla="*/ 2345192 w 2854520"/>
              <a:gd name="connsiteY27" fmla="*/ 986 h 6164592"/>
              <a:gd name="connsiteX0" fmla="*/ 2345192 w 2854520"/>
              <a:gd name="connsiteY0" fmla="*/ 986 h 6164592"/>
              <a:gd name="connsiteX1" fmla="*/ 2508845 w 2854520"/>
              <a:gd name="connsiteY1" fmla="*/ 10328 h 6164592"/>
              <a:gd name="connsiteX2" fmla="*/ 2663147 w 2854520"/>
              <a:gd name="connsiteY2" fmla="*/ 36020 h 6164592"/>
              <a:gd name="connsiteX3" fmla="*/ 2829139 w 2854520"/>
              <a:gd name="connsiteY3" fmla="*/ 211188 h 6164592"/>
              <a:gd name="connsiteX4" fmla="*/ 2849875 w 2854520"/>
              <a:gd name="connsiteY4" fmla="*/ 554819 h 6164592"/>
              <a:gd name="connsiteX5" fmla="*/ 2851299 w 2854520"/>
              <a:gd name="connsiteY5" fmla="*/ 812870 h 6164592"/>
              <a:gd name="connsiteX6" fmla="*/ 2853943 w 2854520"/>
              <a:gd name="connsiteY6" fmla="*/ 1184828 h 6164592"/>
              <a:gd name="connsiteX7" fmla="*/ 2850180 w 2854520"/>
              <a:gd name="connsiteY7" fmla="*/ 1395330 h 6164592"/>
              <a:gd name="connsiteX8" fmla="*/ 2850180 w 2854520"/>
              <a:gd name="connsiteY8" fmla="*/ 5741852 h 6164592"/>
              <a:gd name="connsiteX9" fmla="*/ 2826801 w 2854520"/>
              <a:gd name="connsiteY9" fmla="*/ 5963732 h 6164592"/>
              <a:gd name="connsiteX10" fmla="*/ 2766015 w 2854520"/>
              <a:gd name="connsiteY10" fmla="*/ 6054820 h 6164592"/>
              <a:gd name="connsiteX11" fmla="*/ 2429356 w 2854520"/>
              <a:gd name="connsiteY11" fmla="*/ 6164592 h 6164592"/>
              <a:gd name="connsiteX12" fmla="*/ 362647 w 2854520"/>
              <a:gd name="connsiteY12" fmla="*/ 6162257 h 6164592"/>
              <a:gd name="connsiteX13" fmla="*/ 103139 w 2854520"/>
              <a:gd name="connsiteY13" fmla="*/ 6078176 h 6164592"/>
              <a:gd name="connsiteX14" fmla="*/ 7285 w 2854520"/>
              <a:gd name="connsiteY14" fmla="*/ 5828268 h 6164592"/>
              <a:gd name="connsiteX15" fmla="*/ 7285 w 2854520"/>
              <a:gd name="connsiteY15" fmla="*/ 3915425 h 6164592"/>
              <a:gd name="connsiteX16" fmla="*/ 7285 w 2854520"/>
              <a:gd name="connsiteY16" fmla="*/ 3214749 h 6164592"/>
              <a:gd name="connsiteX17" fmla="*/ 4947 w 2854520"/>
              <a:gd name="connsiteY17" fmla="*/ 687648 h 6164592"/>
              <a:gd name="connsiteX18" fmla="*/ 2609 w 2854520"/>
              <a:gd name="connsiteY18" fmla="*/ 398035 h 6164592"/>
              <a:gd name="connsiteX19" fmla="*/ 47029 w 2854520"/>
              <a:gd name="connsiteY19" fmla="*/ 152799 h 6164592"/>
              <a:gd name="connsiteX20" fmla="*/ 234062 w 2854520"/>
              <a:gd name="connsiteY20" fmla="*/ 22006 h 6164592"/>
              <a:gd name="connsiteX21" fmla="*/ 545003 w 2854520"/>
              <a:gd name="connsiteY21" fmla="*/ 7993 h 6164592"/>
              <a:gd name="connsiteX22" fmla="*/ 615141 w 2854520"/>
              <a:gd name="connsiteY22" fmla="*/ 85067 h 6164592"/>
              <a:gd name="connsiteX23" fmla="*/ 790484 w 2854520"/>
              <a:gd name="connsiteY23" fmla="*/ 250893 h 6164592"/>
              <a:gd name="connsiteX24" fmla="*/ 2022561 w 2854520"/>
              <a:gd name="connsiteY24" fmla="*/ 250893 h 6164592"/>
              <a:gd name="connsiteX25" fmla="*/ 2195566 w 2854520"/>
              <a:gd name="connsiteY25" fmla="*/ 178490 h 6164592"/>
              <a:gd name="connsiteX26" fmla="*/ 2230634 w 2854520"/>
              <a:gd name="connsiteY26" fmla="*/ 92074 h 6164592"/>
              <a:gd name="connsiteX27" fmla="*/ 2345192 w 2854520"/>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52799 h 6164592"/>
              <a:gd name="connsiteX20" fmla="*/ 234062 w 2860975"/>
              <a:gd name="connsiteY20" fmla="*/ 22006 h 6164592"/>
              <a:gd name="connsiteX21" fmla="*/ 545003 w 2860975"/>
              <a:gd name="connsiteY21" fmla="*/ 7993 h 6164592"/>
              <a:gd name="connsiteX22" fmla="*/ 615141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52799 h 6164592"/>
              <a:gd name="connsiteX20" fmla="*/ 234062 w 2860975"/>
              <a:gd name="connsiteY20" fmla="*/ 22006 h 6164592"/>
              <a:gd name="connsiteX21" fmla="*/ 545003 w 2860975"/>
              <a:gd name="connsiteY21" fmla="*/ 7993 h 6164592"/>
              <a:gd name="connsiteX22" fmla="*/ 615141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52799 h 6164592"/>
              <a:gd name="connsiteX20" fmla="*/ 234062 w 2860975"/>
              <a:gd name="connsiteY20" fmla="*/ 22006 h 6164592"/>
              <a:gd name="connsiteX21" fmla="*/ 545003 w 2860975"/>
              <a:gd name="connsiteY21" fmla="*/ 7993 h 6164592"/>
              <a:gd name="connsiteX22" fmla="*/ 641370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52799 h 6164592"/>
              <a:gd name="connsiteX20" fmla="*/ 234062 w 2860975"/>
              <a:gd name="connsiteY20" fmla="*/ 39492 h 6164592"/>
              <a:gd name="connsiteX21" fmla="*/ 545003 w 2860975"/>
              <a:gd name="connsiteY21" fmla="*/ 7993 h 6164592"/>
              <a:gd name="connsiteX22" fmla="*/ 641370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79028 h 6164592"/>
              <a:gd name="connsiteX20" fmla="*/ 234062 w 2860975"/>
              <a:gd name="connsiteY20" fmla="*/ 39492 h 6164592"/>
              <a:gd name="connsiteX21" fmla="*/ 545003 w 2860975"/>
              <a:gd name="connsiteY21" fmla="*/ 7993 h 6164592"/>
              <a:gd name="connsiteX22" fmla="*/ 641370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79028 h 6164592"/>
              <a:gd name="connsiteX20" fmla="*/ 234062 w 2860975"/>
              <a:gd name="connsiteY20" fmla="*/ 39492 h 6164592"/>
              <a:gd name="connsiteX21" fmla="*/ 545003 w 2860975"/>
              <a:gd name="connsiteY21" fmla="*/ 21107 h 6164592"/>
              <a:gd name="connsiteX22" fmla="*/ 641370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790484 w 2860975"/>
              <a:gd name="connsiteY23" fmla="*/ 242419 h 6156118"/>
              <a:gd name="connsiteX24" fmla="*/ 2022561 w 2860975"/>
              <a:gd name="connsiteY24" fmla="*/ 242419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790484 w 2860975"/>
              <a:gd name="connsiteY23" fmla="*/ 242419 h 6156118"/>
              <a:gd name="connsiteX24" fmla="*/ 2022561 w 2860975"/>
              <a:gd name="connsiteY24" fmla="*/ 242419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790484 w 2860975"/>
              <a:gd name="connsiteY23" fmla="*/ 242419 h 6156118"/>
              <a:gd name="connsiteX24" fmla="*/ 2022561 w 2860975"/>
              <a:gd name="connsiteY24" fmla="*/ 242419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790484 w 2860975"/>
              <a:gd name="connsiteY23" fmla="*/ 242419 h 6156118"/>
              <a:gd name="connsiteX24" fmla="*/ 2022561 w 2860975"/>
              <a:gd name="connsiteY24" fmla="*/ 242419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2561 w 2860975"/>
              <a:gd name="connsiteY24" fmla="*/ 242419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60776 w 2860975"/>
              <a:gd name="connsiteY25" fmla="*/ 163057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60776 w 2860975"/>
              <a:gd name="connsiteY25" fmla="*/ 163057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60776 w 2860975"/>
              <a:gd name="connsiteY25" fmla="*/ 163057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60776 w 2860975"/>
              <a:gd name="connsiteY25" fmla="*/ 163057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60776 w 2860975"/>
              <a:gd name="connsiteY25" fmla="*/ 163057 h 6156118"/>
              <a:gd name="connsiteX26" fmla="*/ 2205413 w 2860975"/>
              <a:gd name="connsiteY26" fmla="*/ 89905 h 6156118"/>
              <a:gd name="connsiteX27" fmla="*/ 2340821 w 2860975"/>
              <a:gd name="connsiteY27" fmla="*/ 5626 h 6156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860975" h="6156118">
                <a:moveTo>
                  <a:pt x="2340821" y="5626"/>
                </a:moveTo>
                <a:cubicBezTo>
                  <a:pt x="2394593" y="10297"/>
                  <a:pt x="2455073" y="-5153"/>
                  <a:pt x="2508845" y="1854"/>
                </a:cubicBezTo>
                <a:cubicBezTo>
                  <a:pt x="2560279" y="6525"/>
                  <a:pt x="2614051" y="11197"/>
                  <a:pt x="2663147" y="27546"/>
                </a:cubicBezTo>
                <a:cubicBezTo>
                  <a:pt x="2749650" y="55573"/>
                  <a:pt x="2805759" y="116298"/>
                  <a:pt x="2829139" y="202714"/>
                </a:cubicBezTo>
                <a:cubicBezTo>
                  <a:pt x="2861869" y="317158"/>
                  <a:pt x="2864207" y="422859"/>
                  <a:pt x="2858618" y="541973"/>
                </a:cubicBezTo>
                <a:cubicBezTo>
                  <a:pt x="2851299" y="627790"/>
                  <a:pt x="2852078" y="698666"/>
                  <a:pt x="2851299" y="804396"/>
                </a:cubicBezTo>
                <a:cubicBezTo>
                  <a:pt x="2850520" y="910126"/>
                  <a:pt x="2851605" y="1050232"/>
                  <a:pt x="2853943" y="1176354"/>
                </a:cubicBezTo>
                <a:cubicBezTo>
                  <a:pt x="2856281" y="1248757"/>
                  <a:pt x="2850807" y="627352"/>
                  <a:pt x="2850180" y="1386856"/>
                </a:cubicBezTo>
                <a:cubicBezTo>
                  <a:pt x="2849553" y="2146360"/>
                  <a:pt x="2850180" y="4284537"/>
                  <a:pt x="2850180" y="5733378"/>
                </a:cubicBezTo>
                <a:cubicBezTo>
                  <a:pt x="2850180" y="5808116"/>
                  <a:pt x="2840828" y="5882855"/>
                  <a:pt x="2826801" y="5955258"/>
                </a:cubicBezTo>
                <a:cubicBezTo>
                  <a:pt x="2819787" y="5987956"/>
                  <a:pt x="2791732" y="6020654"/>
                  <a:pt x="2766015" y="6046346"/>
                </a:cubicBezTo>
                <a:cubicBezTo>
                  <a:pt x="2674837" y="6142105"/>
                  <a:pt x="2555603" y="6156118"/>
                  <a:pt x="2429356" y="6156118"/>
                </a:cubicBezTo>
                <a:lnTo>
                  <a:pt x="362647" y="6153783"/>
                </a:lnTo>
                <a:cubicBezTo>
                  <a:pt x="269130" y="6153783"/>
                  <a:pt x="177952" y="6139769"/>
                  <a:pt x="103139" y="6069702"/>
                </a:cubicBezTo>
                <a:cubicBezTo>
                  <a:pt x="33002" y="6001970"/>
                  <a:pt x="7285" y="5913218"/>
                  <a:pt x="7285" y="5819794"/>
                </a:cubicBezTo>
                <a:cubicBezTo>
                  <a:pt x="4947" y="5182180"/>
                  <a:pt x="7285" y="4544565"/>
                  <a:pt x="7285" y="3906951"/>
                </a:cubicBezTo>
                <a:lnTo>
                  <a:pt x="7285" y="3206275"/>
                </a:lnTo>
                <a:cubicBezTo>
                  <a:pt x="7285" y="2363130"/>
                  <a:pt x="7285" y="1522319"/>
                  <a:pt x="4947" y="679174"/>
                </a:cubicBezTo>
                <a:cubicBezTo>
                  <a:pt x="4947" y="583415"/>
                  <a:pt x="-4405" y="485320"/>
                  <a:pt x="2609" y="389561"/>
                </a:cubicBezTo>
                <a:cubicBezTo>
                  <a:pt x="7285" y="307816"/>
                  <a:pt x="23650" y="249964"/>
                  <a:pt x="47029" y="170554"/>
                </a:cubicBezTo>
                <a:cubicBezTo>
                  <a:pt x="75084" y="84137"/>
                  <a:pt x="151066" y="57338"/>
                  <a:pt x="234062" y="31018"/>
                </a:cubicBezTo>
                <a:cubicBezTo>
                  <a:pt x="317058" y="4698"/>
                  <a:pt x="477118" y="5037"/>
                  <a:pt x="545003" y="12633"/>
                </a:cubicBezTo>
                <a:cubicBezTo>
                  <a:pt x="612888" y="20229"/>
                  <a:pt x="636694" y="29881"/>
                  <a:pt x="641370" y="76593"/>
                </a:cubicBezTo>
                <a:cubicBezTo>
                  <a:pt x="687972" y="205752"/>
                  <a:pt x="791992" y="193111"/>
                  <a:pt x="853104" y="193715"/>
                </a:cubicBezTo>
                <a:lnTo>
                  <a:pt x="2029518" y="193715"/>
                </a:lnTo>
                <a:cubicBezTo>
                  <a:pt x="2064606" y="188605"/>
                  <a:pt x="2108420" y="181980"/>
                  <a:pt x="2160776" y="163057"/>
                </a:cubicBezTo>
                <a:cubicBezTo>
                  <a:pt x="2179479" y="137366"/>
                  <a:pt x="2200737" y="120267"/>
                  <a:pt x="2205413" y="89905"/>
                </a:cubicBezTo>
                <a:cubicBezTo>
                  <a:pt x="2217103" y="22173"/>
                  <a:pt x="2251164" y="11733"/>
                  <a:pt x="2340821" y="5626"/>
                </a:cubicBezTo>
                <a:close/>
              </a:path>
            </a:pathLst>
          </a:custGeom>
          <a:blipFill>
            <a:blip r:embed="rId4"/>
            <a:stretch>
              <a:fillRect l="-121001" r="-138446" b="-5101"/>
            </a:stretch>
          </a:blipFill>
        </p:spPr>
        <p:txBody>
          <a:bodyPr wrap="square" anchor="ctr" anchorCtr="1">
            <a:noAutofit/>
          </a:bodyPr>
          <a:lstStyle>
            <a:lvl1pPr marL="0" indent="0">
              <a:buNone/>
              <a:defRPr/>
            </a:lvl1pPr>
          </a:lstStyle>
          <a:p>
            <a:endParaRPr lang="en-US"/>
          </a:p>
        </p:txBody>
      </p:sp>
      <p:sp>
        <p:nvSpPr>
          <p:cNvPr id="73" name="Picture Placeholder 3">
            <a:extLst>
              <a:ext uri="{FF2B5EF4-FFF2-40B4-BE49-F238E27FC236}">
                <a16:creationId xmlns:a16="http://schemas.microsoft.com/office/drawing/2014/main" id="{11B48AF8-495A-A947-8F48-8A8303E9DC50}"/>
              </a:ext>
            </a:extLst>
          </p:cNvPr>
          <p:cNvSpPr>
            <a:spLocks noGrp="1" noChangeAspect="1"/>
          </p:cNvSpPr>
          <p:nvPr>
            <p:ph type="pic" sz="quarter" idx="19"/>
          </p:nvPr>
        </p:nvSpPr>
        <p:spPr>
          <a:xfrm>
            <a:off x="6398467" y="5490481"/>
            <a:ext cx="1440599" cy="3099816"/>
          </a:xfrm>
          <a:custGeom>
            <a:avLst/>
            <a:gdLst>
              <a:gd name="connsiteX0" fmla="*/ 2345192 w 2857253"/>
              <a:gd name="connsiteY0" fmla="*/ 986 h 6164592"/>
              <a:gd name="connsiteX1" fmla="*/ 2508845 w 2857253"/>
              <a:gd name="connsiteY1" fmla="*/ 10328 h 6164592"/>
              <a:gd name="connsiteX2" fmla="*/ 2663147 w 2857253"/>
              <a:gd name="connsiteY2" fmla="*/ 36020 h 6164592"/>
              <a:gd name="connsiteX3" fmla="*/ 2829139 w 2857253"/>
              <a:gd name="connsiteY3" fmla="*/ 211188 h 6164592"/>
              <a:gd name="connsiteX4" fmla="*/ 2845504 w 2857253"/>
              <a:gd name="connsiteY4" fmla="*/ 559190 h 6164592"/>
              <a:gd name="connsiteX5" fmla="*/ 2833814 w 2857253"/>
              <a:gd name="connsiteY5" fmla="*/ 799756 h 6164592"/>
              <a:gd name="connsiteX6" fmla="*/ 2840828 w 2857253"/>
              <a:gd name="connsiteY6" fmla="*/ 1180456 h 6164592"/>
              <a:gd name="connsiteX7" fmla="*/ 2850180 w 2857253"/>
              <a:gd name="connsiteY7" fmla="*/ 1395330 h 6164592"/>
              <a:gd name="connsiteX8" fmla="*/ 2850180 w 2857253"/>
              <a:gd name="connsiteY8" fmla="*/ 5741852 h 6164592"/>
              <a:gd name="connsiteX9" fmla="*/ 2826801 w 2857253"/>
              <a:gd name="connsiteY9" fmla="*/ 5963732 h 6164592"/>
              <a:gd name="connsiteX10" fmla="*/ 2766015 w 2857253"/>
              <a:gd name="connsiteY10" fmla="*/ 6054820 h 6164592"/>
              <a:gd name="connsiteX11" fmla="*/ 2429356 w 2857253"/>
              <a:gd name="connsiteY11" fmla="*/ 6164592 h 6164592"/>
              <a:gd name="connsiteX12" fmla="*/ 362647 w 2857253"/>
              <a:gd name="connsiteY12" fmla="*/ 6162257 h 6164592"/>
              <a:gd name="connsiteX13" fmla="*/ 103139 w 2857253"/>
              <a:gd name="connsiteY13" fmla="*/ 6078176 h 6164592"/>
              <a:gd name="connsiteX14" fmla="*/ 7285 w 2857253"/>
              <a:gd name="connsiteY14" fmla="*/ 5828268 h 6164592"/>
              <a:gd name="connsiteX15" fmla="*/ 7285 w 2857253"/>
              <a:gd name="connsiteY15" fmla="*/ 3915425 h 6164592"/>
              <a:gd name="connsiteX16" fmla="*/ 7285 w 2857253"/>
              <a:gd name="connsiteY16" fmla="*/ 3214749 h 6164592"/>
              <a:gd name="connsiteX17" fmla="*/ 4947 w 2857253"/>
              <a:gd name="connsiteY17" fmla="*/ 687648 h 6164592"/>
              <a:gd name="connsiteX18" fmla="*/ 2609 w 2857253"/>
              <a:gd name="connsiteY18" fmla="*/ 398035 h 6164592"/>
              <a:gd name="connsiteX19" fmla="*/ 47029 w 2857253"/>
              <a:gd name="connsiteY19" fmla="*/ 152799 h 6164592"/>
              <a:gd name="connsiteX20" fmla="*/ 234062 w 2857253"/>
              <a:gd name="connsiteY20" fmla="*/ 22006 h 6164592"/>
              <a:gd name="connsiteX21" fmla="*/ 545003 w 2857253"/>
              <a:gd name="connsiteY21" fmla="*/ 7993 h 6164592"/>
              <a:gd name="connsiteX22" fmla="*/ 615141 w 2857253"/>
              <a:gd name="connsiteY22" fmla="*/ 85067 h 6164592"/>
              <a:gd name="connsiteX23" fmla="*/ 790484 w 2857253"/>
              <a:gd name="connsiteY23" fmla="*/ 250893 h 6164592"/>
              <a:gd name="connsiteX24" fmla="*/ 2022561 w 2857253"/>
              <a:gd name="connsiteY24" fmla="*/ 250893 h 6164592"/>
              <a:gd name="connsiteX25" fmla="*/ 2195566 w 2857253"/>
              <a:gd name="connsiteY25" fmla="*/ 178490 h 6164592"/>
              <a:gd name="connsiteX26" fmla="*/ 2230634 w 2857253"/>
              <a:gd name="connsiteY26" fmla="*/ 92074 h 6164592"/>
              <a:gd name="connsiteX27" fmla="*/ 2345192 w 2857253"/>
              <a:gd name="connsiteY27" fmla="*/ 986 h 6164592"/>
              <a:gd name="connsiteX0" fmla="*/ 2345192 w 2857253"/>
              <a:gd name="connsiteY0" fmla="*/ 986 h 6164592"/>
              <a:gd name="connsiteX1" fmla="*/ 2508845 w 2857253"/>
              <a:gd name="connsiteY1" fmla="*/ 10328 h 6164592"/>
              <a:gd name="connsiteX2" fmla="*/ 2663147 w 2857253"/>
              <a:gd name="connsiteY2" fmla="*/ 36020 h 6164592"/>
              <a:gd name="connsiteX3" fmla="*/ 2829139 w 2857253"/>
              <a:gd name="connsiteY3" fmla="*/ 211188 h 6164592"/>
              <a:gd name="connsiteX4" fmla="*/ 2845504 w 2857253"/>
              <a:gd name="connsiteY4" fmla="*/ 554819 h 6164592"/>
              <a:gd name="connsiteX5" fmla="*/ 2833814 w 2857253"/>
              <a:gd name="connsiteY5" fmla="*/ 799756 h 6164592"/>
              <a:gd name="connsiteX6" fmla="*/ 2840828 w 2857253"/>
              <a:gd name="connsiteY6" fmla="*/ 1180456 h 6164592"/>
              <a:gd name="connsiteX7" fmla="*/ 2850180 w 2857253"/>
              <a:gd name="connsiteY7" fmla="*/ 1395330 h 6164592"/>
              <a:gd name="connsiteX8" fmla="*/ 2850180 w 2857253"/>
              <a:gd name="connsiteY8" fmla="*/ 5741852 h 6164592"/>
              <a:gd name="connsiteX9" fmla="*/ 2826801 w 2857253"/>
              <a:gd name="connsiteY9" fmla="*/ 5963732 h 6164592"/>
              <a:gd name="connsiteX10" fmla="*/ 2766015 w 2857253"/>
              <a:gd name="connsiteY10" fmla="*/ 6054820 h 6164592"/>
              <a:gd name="connsiteX11" fmla="*/ 2429356 w 2857253"/>
              <a:gd name="connsiteY11" fmla="*/ 6164592 h 6164592"/>
              <a:gd name="connsiteX12" fmla="*/ 362647 w 2857253"/>
              <a:gd name="connsiteY12" fmla="*/ 6162257 h 6164592"/>
              <a:gd name="connsiteX13" fmla="*/ 103139 w 2857253"/>
              <a:gd name="connsiteY13" fmla="*/ 6078176 h 6164592"/>
              <a:gd name="connsiteX14" fmla="*/ 7285 w 2857253"/>
              <a:gd name="connsiteY14" fmla="*/ 5828268 h 6164592"/>
              <a:gd name="connsiteX15" fmla="*/ 7285 w 2857253"/>
              <a:gd name="connsiteY15" fmla="*/ 3915425 h 6164592"/>
              <a:gd name="connsiteX16" fmla="*/ 7285 w 2857253"/>
              <a:gd name="connsiteY16" fmla="*/ 3214749 h 6164592"/>
              <a:gd name="connsiteX17" fmla="*/ 4947 w 2857253"/>
              <a:gd name="connsiteY17" fmla="*/ 687648 h 6164592"/>
              <a:gd name="connsiteX18" fmla="*/ 2609 w 2857253"/>
              <a:gd name="connsiteY18" fmla="*/ 398035 h 6164592"/>
              <a:gd name="connsiteX19" fmla="*/ 47029 w 2857253"/>
              <a:gd name="connsiteY19" fmla="*/ 152799 h 6164592"/>
              <a:gd name="connsiteX20" fmla="*/ 234062 w 2857253"/>
              <a:gd name="connsiteY20" fmla="*/ 22006 h 6164592"/>
              <a:gd name="connsiteX21" fmla="*/ 545003 w 2857253"/>
              <a:gd name="connsiteY21" fmla="*/ 7993 h 6164592"/>
              <a:gd name="connsiteX22" fmla="*/ 615141 w 2857253"/>
              <a:gd name="connsiteY22" fmla="*/ 85067 h 6164592"/>
              <a:gd name="connsiteX23" fmla="*/ 790484 w 2857253"/>
              <a:gd name="connsiteY23" fmla="*/ 250893 h 6164592"/>
              <a:gd name="connsiteX24" fmla="*/ 2022561 w 2857253"/>
              <a:gd name="connsiteY24" fmla="*/ 250893 h 6164592"/>
              <a:gd name="connsiteX25" fmla="*/ 2195566 w 2857253"/>
              <a:gd name="connsiteY25" fmla="*/ 178490 h 6164592"/>
              <a:gd name="connsiteX26" fmla="*/ 2230634 w 2857253"/>
              <a:gd name="connsiteY26" fmla="*/ 92074 h 6164592"/>
              <a:gd name="connsiteX27" fmla="*/ 2345192 w 2857253"/>
              <a:gd name="connsiteY27" fmla="*/ 986 h 6164592"/>
              <a:gd name="connsiteX0" fmla="*/ 2345192 w 2857253"/>
              <a:gd name="connsiteY0" fmla="*/ 986 h 6164592"/>
              <a:gd name="connsiteX1" fmla="*/ 2508845 w 2857253"/>
              <a:gd name="connsiteY1" fmla="*/ 10328 h 6164592"/>
              <a:gd name="connsiteX2" fmla="*/ 2663147 w 2857253"/>
              <a:gd name="connsiteY2" fmla="*/ 36020 h 6164592"/>
              <a:gd name="connsiteX3" fmla="*/ 2829139 w 2857253"/>
              <a:gd name="connsiteY3" fmla="*/ 211188 h 6164592"/>
              <a:gd name="connsiteX4" fmla="*/ 2845504 w 2857253"/>
              <a:gd name="connsiteY4" fmla="*/ 554819 h 6164592"/>
              <a:gd name="connsiteX5" fmla="*/ 2851299 w 2857253"/>
              <a:gd name="connsiteY5" fmla="*/ 812870 h 6164592"/>
              <a:gd name="connsiteX6" fmla="*/ 2840828 w 2857253"/>
              <a:gd name="connsiteY6" fmla="*/ 1180456 h 6164592"/>
              <a:gd name="connsiteX7" fmla="*/ 2850180 w 2857253"/>
              <a:gd name="connsiteY7" fmla="*/ 1395330 h 6164592"/>
              <a:gd name="connsiteX8" fmla="*/ 2850180 w 2857253"/>
              <a:gd name="connsiteY8" fmla="*/ 5741852 h 6164592"/>
              <a:gd name="connsiteX9" fmla="*/ 2826801 w 2857253"/>
              <a:gd name="connsiteY9" fmla="*/ 5963732 h 6164592"/>
              <a:gd name="connsiteX10" fmla="*/ 2766015 w 2857253"/>
              <a:gd name="connsiteY10" fmla="*/ 6054820 h 6164592"/>
              <a:gd name="connsiteX11" fmla="*/ 2429356 w 2857253"/>
              <a:gd name="connsiteY11" fmla="*/ 6164592 h 6164592"/>
              <a:gd name="connsiteX12" fmla="*/ 362647 w 2857253"/>
              <a:gd name="connsiteY12" fmla="*/ 6162257 h 6164592"/>
              <a:gd name="connsiteX13" fmla="*/ 103139 w 2857253"/>
              <a:gd name="connsiteY13" fmla="*/ 6078176 h 6164592"/>
              <a:gd name="connsiteX14" fmla="*/ 7285 w 2857253"/>
              <a:gd name="connsiteY14" fmla="*/ 5828268 h 6164592"/>
              <a:gd name="connsiteX15" fmla="*/ 7285 w 2857253"/>
              <a:gd name="connsiteY15" fmla="*/ 3915425 h 6164592"/>
              <a:gd name="connsiteX16" fmla="*/ 7285 w 2857253"/>
              <a:gd name="connsiteY16" fmla="*/ 3214749 h 6164592"/>
              <a:gd name="connsiteX17" fmla="*/ 4947 w 2857253"/>
              <a:gd name="connsiteY17" fmla="*/ 687648 h 6164592"/>
              <a:gd name="connsiteX18" fmla="*/ 2609 w 2857253"/>
              <a:gd name="connsiteY18" fmla="*/ 398035 h 6164592"/>
              <a:gd name="connsiteX19" fmla="*/ 47029 w 2857253"/>
              <a:gd name="connsiteY19" fmla="*/ 152799 h 6164592"/>
              <a:gd name="connsiteX20" fmla="*/ 234062 w 2857253"/>
              <a:gd name="connsiteY20" fmla="*/ 22006 h 6164592"/>
              <a:gd name="connsiteX21" fmla="*/ 545003 w 2857253"/>
              <a:gd name="connsiteY21" fmla="*/ 7993 h 6164592"/>
              <a:gd name="connsiteX22" fmla="*/ 615141 w 2857253"/>
              <a:gd name="connsiteY22" fmla="*/ 85067 h 6164592"/>
              <a:gd name="connsiteX23" fmla="*/ 790484 w 2857253"/>
              <a:gd name="connsiteY23" fmla="*/ 250893 h 6164592"/>
              <a:gd name="connsiteX24" fmla="*/ 2022561 w 2857253"/>
              <a:gd name="connsiteY24" fmla="*/ 250893 h 6164592"/>
              <a:gd name="connsiteX25" fmla="*/ 2195566 w 2857253"/>
              <a:gd name="connsiteY25" fmla="*/ 178490 h 6164592"/>
              <a:gd name="connsiteX26" fmla="*/ 2230634 w 2857253"/>
              <a:gd name="connsiteY26" fmla="*/ 92074 h 6164592"/>
              <a:gd name="connsiteX27" fmla="*/ 2345192 w 2857253"/>
              <a:gd name="connsiteY27" fmla="*/ 986 h 6164592"/>
              <a:gd name="connsiteX0" fmla="*/ 2345192 w 2857253"/>
              <a:gd name="connsiteY0" fmla="*/ 986 h 6164592"/>
              <a:gd name="connsiteX1" fmla="*/ 2508845 w 2857253"/>
              <a:gd name="connsiteY1" fmla="*/ 10328 h 6164592"/>
              <a:gd name="connsiteX2" fmla="*/ 2663147 w 2857253"/>
              <a:gd name="connsiteY2" fmla="*/ 36020 h 6164592"/>
              <a:gd name="connsiteX3" fmla="*/ 2829139 w 2857253"/>
              <a:gd name="connsiteY3" fmla="*/ 211188 h 6164592"/>
              <a:gd name="connsiteX4" fmla="*/ 2845504 w 2857253"/>
              <a:gd name="connsiteY4" fmla="*/ 554819 h 6164592"/>
              <a:gd name="connsiteX5" fmla="*/ 2851299 w 2857253"/>
              <a:gd name="connsiteY5" fmla="*/ 812870 h 6164592"/>
              <a:gd name="connsiteX6" fmla="*/ 2853943 w 2857253"/>
              <a:gd name="connsiteY6" fmla="*/ 1184828 h 6164592"/>
              <a:gd name="connsiteX7" fmla="*/ 2850180 w 2857253"/>
              <a:gd name="connsiteY7" fmla="*/ 1395330 h 6164592"/>
              <a:gd name="connsiteX8" fmla="*/ 2850180 w 2857253"/>
              <a:gd name="connsiteY8" fmla="*/ 5741852 h 6164592"/>
              <a:gd name="connsiteX9" fmla="*/ 2826801 w 2857253"/>
              <a:gd name="connsiteY9" fmla="*/ 5963732 h 6164592"/>
              <a:gd name="connsiteX10" fmla="*/ 2766015 w 2857253"/>
              <a:gd name="connsiteY10" fmla="*/ 6054820 h 6164592"/>
              <a:gd name="connsiteX11" fmla="*/ 2429356 w 2857253"/>
              <a:gd name="connsiteY11" fmla="*/ 6164592 h 6164592"/>
              <a:gd name="connsiteX12" fmla="*/ 362647 w 2857253"/>
              <a:gd name="connsiteY12" fmla="*/ 6162257 h 6164592"/>
              <a:gd name="connsiteX13" fmla="*/ 103139 w 2857253"/>
              <a:gd name="connsiteY13" fmla="*/ 6078176 h 6164592"/>
              <a:gd name="connsiteX14" fmla="*/ 7285 w 2857253"/>
              <a:gd name="connsiteY14" fmla="*/ 5828268 h 6164592"/>
              <a:gd name="connsiteX15" fmla="*/ 7285 w 2857253"/>
              <a:gd name="connsiteY15" fmla="*/ 3915425 h 6164592"/>
              <a:gd name="connsiteX16" fmla="*/ 7285 w 2857253"/>
              <a:gd name="connsiteY16" fmla="*/ 3214749 h 6164592"/>
              <a:gd name="connsiteX17" fmla="*/ 4947 w 2857253"/>
              <a:gd name="connsiteY17" fmla="*/ 687648 h 6164592"/>
              <a:gd name="connsiteX18" fmla="*/ 2609 w 2857253"/>
              <a:gd name="connsiteY18" fmla="*/ 398035 h 6164592"/>
              <a:gd name="connsiteX19" fmla="*/ 47029 w 2857253"/>
              <a:gd name="connsiteY19" fmla="*/ 152799 h 6164592"/>
              <a:gd name="connsiteX20" fmla="*/ 234062 w 2857253"/>
              <a:gd name="connsiteY20" fmla="*/ 22006 h 6164592"/>
              <a:gd name="connsiteX21" fmla="*/ 545003 w 2857253"/>
              <a:gd name="connsiteY21" fmla="*/ 7993 h 6164592"/>
              <a:gd name="connsiteX22" fmla="*/ 615141 w 2857253"/>
              <a:gd name="connsiteY22" fmla="*/ 85067 h 6164592"/>
              <a:gd name="connsiteX23" fmla="*/ 790484 w 2857253"/>
              <a:gd name="connsiteY23" fmla="*/ 250893 h 6164592"/>
              <a:gd name="connsiteX24" fmla="*/ 2022561 w 2857253"/>
              <a:gd name="connsiteY24" fmla="*/ 250893 h 6164592"/>
              <a:gd name="connsiteX25" fmla="*/ 2195566 w 2857253"/>
              <a:gd name="connsiteY25" fmla="*/ 178490 h 6164592"/>
              <a:gd name="connsiteX26" fmla="*/ 2230634 w 2857253"/>
              <a:gd name="connsiteY26" fmla="*/ 92074 h 6164592"/>
              <a:gd name="connsiteX27" fmla="*/ 2345192 w 2857253"/>
              <a:gd name="connsiteY27" fmla="*/ 986 h 6164592"/>
              <a:gd name="connsiteX0" fmla="*/ 2345192 w 2860168"/>
              <a:gd name="connsiteY0" fmla="*/ 986 h 6164592"/>
              <a:gd name="connsiteX1" fmla="*/ 2508845 w 2860168"/>
              <a:gd name="connsiteY1" fmla="*/ 10328 h 6164592"/>
              <a:gd name="connsiteX2" fmla="*/ 2663147 w 2860168"/>
              <a:gd name="connsiteY2" fmla="*/ 36020 h 6164592"/>
              <a:gd name="connsiteX3" fmla="*/ 2829139 w 2860168"/>
              <a:gd name="connsiteY3" fmla="*/ 211188 h 6164592"/>
              <a:gd name="connsiteX4" fmla="*/ 2849875 w 2860168"/>
              <a:gd name="connsiteY4" fmla="*/ 554819 h 6164592"/>
              <a:gd name="connsiteX5" fmla="*/ 2851299 w 2860168"/>
              <a:gd name="connsiteY5" fmla="*/ 812870 h 6164592"/>
              <a:gd name="connsiteX6" fmla="*/ 2853943 w 2860168"/>
              <a:gd name="connsiteY6" fmla="*/ 1184828 h 6164592"/>
              <a:gd name="connsiteX7" fmla="*/ 2850180 w 2860168"/>
              <a:gd name="connsiteY7" fmla="*/ 1395330 h 6164592"/>
              <a:gd name="connsiteX8" fmla="*/ 2850180 w 2860168"/>
              <a:gd name="connsiteY8" fmla="*/ 5741852 h 6164592"/>
              <a:gd name="connsiteX9" fmla="*/ 2826801 w 2860168"/>
              <a:gd name="connsiteY9" fmla="*/ 5963732 h 6164592"/>
              <a:gd name="connsiteX10" fmla="*/ 2766015 w 2860168"/>
              <a:gd name="connsiteY10" fmla="*/ 6054820 h 6164592"/>
              <a:gd name="connsiteX11" fmla="*/ 2429356 w 2860168"/>
              <a:gd name="connsiteY11" fmla="*/ 6164592 h 6164592"/>
              <a:gd name="connsiteX12" fmla="*/ 362647 w 2860168"/>
              <a:gd name="connsiteY12" fmla="*/ 6162257 h 6164592"/>
              <a:gd name="connsiteX13" fmla="*/ 103139 w 2860168"/>
              <a:gd name="connsiteY13" fmla="*/ 6078176 h 6164592"/>
              <a:gd name="connsiteX14" fmla="*/ 7285 w 2860168"/>
              <a:gd name="connsiteY14" fmla="*/ 5828268 h 6164592"/>
              <a:gd name="connsiteX15" fmla="*/ 7285 w 2860168"/>
              <a:gd name="connsiteY15" fmla="*/ 3915425 h 6164592"/>
              <a:gd name="connsiteX16" fmla="*/ 7285 w 2860168"/>
              <a:gd name="connsiteY16" fmla="*/ 3214749 h 6164592"/>
              <a:gd name="connsiteX17" fmla="*/ 4947 w 2860168"/>
              <a:gd name="connsiteY17" fmla="*/ 687648 h 6164592"/>
              <a:gd name="connsiteX18" fmla="*/ 2609 w 2860168"/>
              <a:gd name="connsiteY18" fmla="*/ 398035 h 6164592"/>
              <a:gd name="connsiteX19" fmla="*/ 47029 w 2860168"/>
              <a:gd name="connsiteY19" fmla="*/ 152799 h 6164592"/>
              <a:gd name="connsiteX20" fmla="*/ 234062 w 2860168"/>
              <a:gd name="connsiteY20" fmla="*/ 22006 h 6164592"/>
              <a:gd name="connsiteX21" fmla="*/ 545003 w 2860168"/>
              <a:gd name="connsiteY21" fmla="*/ 7993 h 6164592"/>
              <a:gd name="connsiteX22" fmla="*/ 615141 w 2860168"/>
              <a:gd name="connsiteY22" fmla="*/ 85067 h 6164592"/>
              <a:gd name="connsiteX23" fmla="*/ 790484 w 2860168"/>
              <a:gd name="connsiteY23" fmla="*/ 250893 h 6164592"/>
              <a:gd name="connsiteX24" fmla="*/ 2022561 w 2860168"/>
              <a:gd name="connsiteY24" fmla="*/ 250893 h 6164592"/>
              <a:gd name="connsiteX25" fmla="*/ 2195566 w 2860168"/>
              <a:gd name="connsiteY25" fmla="*/ 178490 h 6164592"/>
              <a:gd name="connsiteX26" fmla="*/ 2230634 w 2860168"/>
              <a:gd name="connsiteY26" fmla="*/ 92074 h 6164592"/>
              <a:gd name="connsiteX27" fmla="*/ 2345192 w 2860168"/>
              <a:gd name="connsiteY27" fmla="*/ 986 h 6164592"/>
              <a:gd name="connsiteX0" fmla="*/ 2345192 w 2854520"/>
              <a:gd name="connsiteY0" fmla="*/ 986 h 6164592"/>
              <a:gd name="connsiteX1" fmla="*/ 2508845 w 2854520"/>
              <a:gd name="connsiteY1" fmla="*/ 10328 h 6164592"/>
              <a:gd name="connsiteX2" fmla="*/ 2663147 w 2854520"/>
              <a:gd name="connsiteY2" fmla="*/ 36020 h 6164592"/>
              <a:gd name="connsiteX3" fmla="*/ 2829139 w 2854520"/>
              <a:gd name="connsiteY3" fmla="*/ 211188 h 6164592"/>
              <a:gd name="connsiteX4" fmla="*/ 2849875 w 2854520"/>
              <a:gd name="connsiteY4" fmla="*/ 554819 h 6164592"/>
              <a:gd name="connsiteX5" fmla="*/ 2851299 w 2854520"/>
              <a:gd name="connsiteY5" fmla="*/ 812870 h 6164592"/>
              <a:gd name="connsiteX6" fmla="*/ 2853943 w 2854520"/>
              <a:gd name="connsiteY6" fmla="*/ 1184828 h 6164592"/>
              <a:gd name="connsiteX7" fmla="*/ 2850180 w 2854520"/>
              <a:gd name="connsiteY7" fmla="*/ 1395330 h 6164592"/>
              <a:gd name="connsiteX8" fmla="*/ 2850180 w 2854520"/>
              <a:gd name="connsiteY8" fmla="*/ 5741852 h 6164592"/>
              <a:gd name="connsiteX9" fmla="*/ 2826801 w 2854520"/>
              <a:gd name="connsiteY9" fmla="*/ 5963732 h 6164592"/>
              <a:gd name="connsiteX10" fmla="*/ 2766015 w 2854520"/>
              <a:gd name="connsiteY10" fmla="*/ 6054820 h 6164592"/>
              <a:gd name="connsiteX11" fmla="*/ 2429356 w 2854520"/>
              <a:gd name="connsiteY11" fmla="*/ 6164592 h 6164592"/>
              <a:gd name="connsiteX12" fmla="*/ 362647 w 2854520"/>
              <a:gd name="connsiteY12" fmla="*/ 6162257 h 6164592"/>
              <a:gd name="connsiteX13" fmla="*/ 103139 w 2854520"/>
              <a:gd name="connsiteY13" fmla="*/ 6078176 h 6164592"/>
              <a:gd name="connsiteX14" fmla="*/ 7285 w 2854520"/>
              <a:gd name="connsiteY14" fmla="*/ 5828268 h 6164592"/>
              <a:gd name="connsiteX15" fmla="*/ 7285 w 2854520"/>
              <a:gd name="connsiteY15" fmla="*/ 3915425 h 6164592"/>
              <a:gd name="connsiteX16" fmla="*/ 7285 w 2854520"/>
              <a:gd name="connsiteY16" fmla="*/ 3214749 h 6164592"/>
              <a:gd name="connsiteX17" fmla="*/ 4947 w 2854520"/>
              <a:gd name="connsiteY17" fmla="*/ 687648 h 6164592"/>
              <a:gd name="connsiteX18" fmla="*/ 2609 w 2854520"/>
              <a:gd name="connsiteY18" fmla="*/ 398035 h 6164592"/>
              <a:gd name="connsiteX19" fmla="*/ 47029 w 2854520"/>
              <a:gd name="connsiteY19" fmla="*/ 152799 h 6164592"/>
              <a:gd name="connsiteX20" fmla="*/ 234062 w 2854520"/>
              <a:gd name="connsiteY20" fmla="*/ 22006 h 6164592"/>
              <a:gd name="connsiteX21" fmla="*/ 545003 w 2854520"/>
              <a:gd name="connsiteY21" fmla="*/ 7993 h 6164592"/>
              <a:gd name="connsiteX22" fmla="*/ 615141 w 2854520"/>
              <a:gd name="connsiteY22" fmla="*/ 85067 h 6164592"/>
              <a:gd name="connsiteX23" fmla="*/ 790484 w 2854520"/>
              <a:gd name="connsiteY23" fmla="*/ 250893 h 6164592"/>
              <a:gd name="connsiteX24" fmla="*/ 2022561 w 2854520"/>
              <a:gd name="connsiteY24" fmla="*/ 250893 h 6164592"/>
              <a:gd name="connsiteX25" fmla="*/ 2195566 w 2854520"/>
              <a:gd name="connsiteY25" fmla="*/ 178490 h 6164592"/>
              <a:gd name="connsiteX26" fmla="*/ 2230634 w 2854520"/>
              <a:gd name="connsiteY26" fmla="*/ 92074 h 6164592"/>
              <a:gd name="connsiteX27" fmla="*/ 2345192 w 2854520"/>
              <a:gd name="connsiteY27" fmla="*/ 986 h 6164592"/>
              <a:gd name="connsiteX0" fmla="*/ 2345192 w 2854520"/>
              <a:gd name="connsiteY0" fmla="*/ 986 h 6164592"/>
              <a:gd name="connsiteX1" fmla="*/ 2508845 w 2854520"/>
              <a:gd name="connsiteY1" fmla="*/ 10328 h 6164592"/>
              <a:gd name="connsiteX2" fmla="*/ 2663147 w 2854520"/>
              <a:gd name="connsiteY2" fmla="*/ 36020 h 6164592"/>
              <a:gd name="connsiteX3" fmla="*/ 2829139 w 2854520"/>
              <a:gd name="connsiteY3" fmla="*/ 211188 h 6164592"/>
              <a:gd name="connsiteX4" fmla="*/ 2849875 w 2854520"/>
              <a:gd name="connsiteY4" fmla="*/ 554819 h 6164592"/>
              <a:gd name="connsiteX5" fmla="*/ 2851299 w 2854520"/>
              <a:gd name="connsiteY5" fmla="*/ 812870 h 6164592"/>
              <a:gd name="connsiteX6" fmla="*/ 2853943 w 2854520"/>
              <a:gd name="connsiteY6" fmla="*/ 1184828 h 6164592"/>
              <a:gd name="connsiteX7" fmla="*/ 2850180 w 2854520"/>
              <a:gd name="connsiteY7" fmla="*/ 1395330 h 6164592"/>
              <a:gd name="connsiteX8" fmla="*/ 2850180 w 2854520"/>
              <a:gd name="connsiteY8" fmla="*/ 5741852 h 6164592"/>
              <a:gd name="connsiteX9" fmla="*/ 2826801 w 2854520"/>
              <a:gd name="connsiteY9" fmla="*/ 5963732 h 6164592"/>
              <a:gd name="connsiteX10" fmla="*/ 2766015 w 2854520"/>
              <a:gd name="connsiteY10" fmla="*/ 6054820 h 6164592"/>
              <a:gd name="connsiteX11" fmla="*/ 2429356 w 2854520"/>
              <a:gd name="connsiteY11" fmla="*/ 6164592 h 6164592"/>
              <a:gd name="connsiteX12" fmla="*/ 362647 w 2854520"/>
              <a:gd name="connsiteY12" fmla="*/ 6162257 h 6164592"/>
              <a:gd name="connsiteX13" fmla="*/ 103139 w 2854520"/>
              <a:gd name="connsiteY13" fmla="*/ 6078176 h 6164592"/>
              <a:gd name="connsiteX14" fmla="*/ 7285 w 2854520"/>
              <a:gd name="connsiteY14" fmla="*/ 5828268 h 6164592"/>
              <a:gd name="connsiteX15" fmla="*/ 7285 w 2854520"/>
              <a:gd name="connsiteY15" fmla="*/ 3915425 h 6164592"/>
              <a:gd name="connsiteX16" fmla="*/ 7285 w 2854520"/>
              <a:gd name="connsiteY16" fmla="*/ 3214749 h 6164592"/>
              <a:gd name="connsiteX17" fmla="*/ 4947 w 2854520"/>
              <a:gd name="connsiteY17" fmla="*/ 687648 h 6164592"/>
              <a:gd name="connsiteX18" fmla="*/ 2609 w 2854520"/>
              <a:gd name="connsiteY18" fmla="*/ 398035 h 6164592"/>
              <a:gd name="connsiteX19" fmla="*/ 47029 w 2854520"/>
              <a:gd name="connsiteY19" fmla="*/ 152799 h 6164592"/>
              <a:gd name="connsiteX20" fmla="*/ 234062 w 2854520"/>
              <a:gd name="connsiteY20" fmla="*/ 22006 h 6164592"/>
              <a:gd name="connsiteX21" fmla="*/ 545003 w 2854520"/>
              <a:gd name="connsiteY21" fmla="*/ 7993 h 6164592"/>
              <a:gd name="connsiteX22" fmla="*/ 615141 w 2854520"/>
              <a:gd name="connsiteY22" fmla="*/ 85067 h 6164592"/>
              <a:gd name="connsiteX23" fmla="*/ 790484 w 2854520"/>
              <a:gd name="connsiteY23" fmla="*/ 250893 h 6164592"/>
              <a:gd name="connsiteX24" fmla="*/ 2022561 w 2854520"/>
              <a:gd name="connsiteY24" fmla="*/ 250893 h 6164592"/>
              <a:gd name="connsiteX25" fmla="*/ 2195566 w 2854520"/>
              <a:gd name="connsiteY25" fmla="*/ 178490 h 6164592"/>
              <a:gd name="connsiteX26" fmla="*/ 2230634 w 2854520"/>
              <a:gd name="connsiteY26" fmla="*/ 92074 h 6164592"/>
              <a:gd name="connsiteX27" fmla="*/ 2345192 w 2854520"/>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52799 h 6164592"/>
              <a:gd name="connsiteX20" fmla="*/ 234062 w 2860975"/>
              <a:gd name="connsiteY20" fmla="*/ 22006 h 6164592"/>
              <a:gd name="connsiteX21" fmla="*/ 545003 w 2860975"/>
              <a:gd name="connsiteY21" fmla="*/ 7993 h 6164592"/>
              <a:gd name="connsiteX22" fmla="*/ 615141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52799 h 6164592"/>
              <a:gd name="connsiteX20" fmla="*/ 234062 w 2860975"/>
              <a:gd name="connsiteY20" fmla="*/ 22006 h 6164592"/>
              <a:gd name="connsiteX21" fmla="*/ 545003 w 2860975"/>
              <a:gd name="connsiteY21" fmla="*/ 7993 h 6164592"/>
              <a:gd name="connsiteX22" fmla="*/ 615141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52799 h 6164592"/>
              <a:gd name="connsiteX20" fmla="*/ 234062 w 2860975"/>
              <a:gd name="connsiteY20" fmla="*/ 22006 h 6164592"/>
              <a:gd name="connsiteX21" fmla="*/ 545003 w 2860975"/>
              <a:gd name="connsiteY21" fmla="*/ 7993 h 6164592"/>
              <a:gd name="connsiteX22" fmla="*/ 641370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52799 h 6164592"/>
              <a:gd name="connsiteX20" fmla="*/ 234062 w 2860975"/>
              <a:gd name="connsiteY20" fmla="*/ 39492 h 6164592"/>
              <a:gd name="connsiteX21" fmla="*/ 545003 w 2860975"/>
              <a:gd name="connsiteY21" fmla="*/ 7993 h 6164592"/>
              <a:gd name="connsiteX22" fmla="*/ 641370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79028 h 6164592"/>
              <a:gd name="connsiteX20" fmla="*/ 234062 w 2860975"/>
              <a:gd name="connsiteY20" fmla="*/ 39492 h 6164592"/>
              <a:gd name="connsiteX21" fmla="*/ 545003 w 2860975"/>
              <a:gd name="connsiteY21" fmla="*/ 7993 h 6164592"/>
              <a:gd name="connsiteX22" fmla="*/ 641370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79028 h 6164592"/>
              <a:gd name="connsiteX20" fmla="*/ 234062 w 2860975"/>
              <a:gd name="connsiteY20" fmla="*/ 39492 h 6164592"/>
              <a:gd name="connsiteX21" fmla="*/ 545003 w 2860975"/>
              <a:gd name="connsiteY21" fmla="*/ 21107 h 6164592"/>
              <a:gd name="connsiteX22" fmla="*/ 641370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790484 w 2860975"/>
              <a:gd name="connsiteY23" fmla="*/ 242419 h 6156118"/>
              <a:gd name="connsiteX24" fmla="*/ 2022561 w 2860975"/>
              <a:gd name="connsiteY24" fmla="*/ 242419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790484 w 2860975"/>
              <a:gd name="connsiteY23" fmla="*/ 242419 h 6156118"/>
              <a:gd name="connsiteX24" fmla="*/ 2022561 w 2860975"/>
              <a:gd name="connsiteY24" fmla="*/ 242419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790484 w 2860975"/>
              <a:gd name="connsiteY23" fmla="*/ 242419 h 6156118"/>
              <a:gd name="connsiteX24" fmla="*/ 2022561 w 2860975"/>
              <a:gd name="connsiteY24" fmla="*/ 242419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790484 w 2860975"/>
              <a:gd name="connsiteY23" fmla="*/ 242419 h 6156118"/>
              <a:gd name="connsiteX24" fmla="*/ 2022561 w 2860975"/>
              <a:gd name="connsiteY24" fmla="*/ 242419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2561 w 2860975"/>
              <a:gd name="connsiteY24" fmla="*/ 242419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60776 w 2860975"/>
              <a:gd name="connsiteY25" fmla="*/ 163057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60776 w 2860975"/>
              <a:gd name="connsiteY25" fmla="*/ 163057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60776 w 2860975"/>
              <a:gd name="connsiteY25" fmla="*/ 163057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60776 w 2860975"/>
              <a:gd name="connsiteY25" fmla="*/ 163057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60776 w 2860975"/>
              <a:gd name="connsiteY25" fmla="*/ 163057 h 6156118"/>
              <a:gd name="connsiteX26" fmla="*/ 2205413 w 2860975"/>
              <a:gd name="connsiteY26" fmla="*/ 89905 h 6156118"/>
              <a:gd name="connsiteX27" fmla="*/ 2340821 w 2860975"/>
              <a:gd name="connsiteY27" fmla="*/ 5626 h 6156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860975" h="6156118">
                <a:moveTo>
                  <a:pt x="2340821" y="5626"/>
                </a:moveTo>
                <a:cubicBezTo>
                  <a:pt x="2394593" y="10297"/>
                  <a:pt x="2455073" y="-5153"/>
                  <a:pt x="2508845" y="1854"/>
                </a:cubicBezTo>
                <a:cubicBezTo>
                  <a:pt x="2560279" y="6525"/>
                  <a:pt x="2614051" y="11197"/>
                  <a:pt x="2663147" y="27546"/>
                </a:cubicBezTo>
                <a:cubicBezTo>
                  <a:pt x="2749650" y="55573"/>
                  <a:pt x="2805759" y="116298"/>
                  <a:pt x="2829139" y="202714"/>
                </a:cubicBezTo>
                <a:cubicBezTo>
                  <a:pt x="2861869" y="317158"/>
                  <a:pt x="2864207" y="422859"/>
                  <a:pt x="2858618" y="541973"/>
                </a:cubicBezTo>
                <a:cubicBezTo>
                  <a:pt x="2851299" y="627790"/>
                  <a:pt x="2852078" y="698666"/>
                  <a:pt x="2851299" y="804396"/>
                </a:cubicBezTo>
                <a:cubicBezTo>
                  <a:pt x="2850520" y="910126"/>
                  <a:pt x="2851605" y="1050232"/>
                  <a:pt x="2853943" y="1176354"/>
                </a:cubicBezTo>
                <a:cubicBezTo>
                  <a:pt x="2856281" y="1248757"/>
                  <a:pt x="2850807" y="627352"/>
                  <a:pt x="2850180" y="1386856"/>
                </a:cubicBezTo>
                <a:cubicBezTo>
                  <a:pt x="2849553" y="2146360"/>
                  <a:pt x="2850180" y="4284537"/>
                  <a:pt x="2850180" y="5733378"/>
                </a:cubicBezTo>
                <a:cubicBezTo>
                  <a:pt x="2850180" y="5808116"/>
                  <a:pt x="2840828" y="5882855"/>
                  <a:pt x="2826801" y="5955258"/>
                </a:cubicBezTo>
                <a:cubicBezTo>
                  <a:pt x="2819787" y="5987956"/>
                  <a:pt x="2791732" y="6020654"/>
                  <a:pt x="2766015" y="6046346"/>
                </a:cubicBezTo>
                <a:cubicBezTo>
                  <a:pt x="2674837" y="6142105"/>
                  <a:pt x="2555603" y="6156118"/>
                  <a:pt x="2429356" y="6156118"/>
                </a:cubicBezTo>
                <a:lnTo>
                  <a:pt x="362647" y="6153783"/>
                </a:lnTo>
                <a:cubicBezTo>
                  <a:pt x="269130" y="6153783"/>
                  <a:pt x="177952" y="6139769"/>
                  <a:pt x="103139" y="6069702"/>
                </a:cubicBezTo>
                <a:cubicBezTo>
                  <a:pt x="33002" y="6001970"/>
                  <a:pt x="7285" y="5913218"/>
                  <a:pt x="7285" y="5819794"/>
                </a:cubicBezTo>
                <a:cubicBezTo>
                  <a:pt x="4947" y="5182180"/>
                  <a:pt x="7285" y="4544565"/>
                  <a:pt x="7285" y="3906951"/>
                </a:cubicBezTo>
                <a:lnTo>
                  <a:pt x="7285" y="3206275"/>
                </a:lnTo>
                <a:cubicBezTo>
                  <a:pt x="7285" y="2363130"/>
                  <a:pt x="7285" y="1522319"/>
                  <a:pt x="4947" y="679174"/>
                </a:cubicBezTo>
                <a:cubicBezTo>
                  <a:pt x="4947" y="583415"/>
                  <a:pt x="-4405" y="485320"/>
                  <a:pt x="2609" y="389561"/>
                </a:cubicBezTo>
                <a:cubicBezTo>
                  <a:pt x="7285" y="307816"/>
                  <a:pt x="23650" y="249964"/>
                  <a:pt x="47029" y="170554"/>
                </a:cubicBezTo>
                <a:cubicBezTo>
                  <a:pt x="75084" y="84137"/>
                  <a:pt x="151066" y="57338"/>
                  <a:pt x="234062" y="31018"/>
                </a:cubicBezTo>
                <a:cubicBezTo>
                  <a:pt x="317058" y="4698"/>
                  <a:pt x="477118" y="5037"/>
                  <a:pt x="545003" y="12633"/>
                </a:cubicBezTo>
                <a:cubicBezTo>
                  <a:pt x="612888" y="20229"/>
                  <a:pt x="636694" y="29881"/>
                  <a:pt x="641370" y="76593"/>
                </a:cubicBezTo>
                <a:cubicBezTo>
                  <a:pt x="687972" y="205752"/>
                  <a:pt x="791992" y="193111"/>
                  <a:pt x="853104" y="193715"/>
                </a:cubicBezTo>
                <a:lnTo>
                  <a:pt x="2029518" y="193715"/>
                </a:lnTo>
                <a:cubicBezTo>
                  <a:pt x="2064606" y="188605"/>
                  <a:pt x="2108420" y="181980"/>
                  <a:pt x="2160776" y="163057"/>
                </a:cubicBezTo>
                <a:cubicBezTo>
                  <a:pt x="2179479" y="137366"/>
                  <a:pt x="2200737" y="120267"/>
                  <a:pt x="2205413" y="89905"/>
                </a:cubicBezTo>
                <a:cubicBezTo>
                  <a:pt x="2217103" y="22173"/>
                  <a:pt x="2251164" y="11733"/>
                  <a:pt x="2340821" y="5626"/>
                </a:cubicBezTo>
                <a:close/>
              </a:path>
            </a:pathLst>
          </a:custGeom>
          <a:blipFill>
            <a:blip r:embed="rId4"/>
            <a:stretch>
              <a:fillRect l="-121001" r="-138446" b="-5101"/>
            </a:stretch>
          </a:blipFill>
        </p:spPr>
        <p:txBody>
          <a:bodyPr wrap="square" anchor="ctr" anchorCtr="1">
            <a:noAutofit/>
          </a:bodyPr>
          <a:lstStyle>
            <a:lvl1pPr marL="0" indent="0">
              <a:buNone/>
              <a:defRPr/>
            </a:lvl1pPr>
          </a:lstStyle>
          <a:p>
            <a:endParaRPr lang="en-US"/>
          </a:p>
        </p:txBody>
      </p:sp>
    </p:spTree>
    <p:extLst>
      <p:ext uri="{BB962C8B-B14F-4D97-AF65-F5344CB8AC3E}">
        <p14:creationId xmlns:p14="http://schemas.microsoft.com/office/powerpoint/2010/main" val="124054796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7455383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32" name="Graphic 31">
            <a:extLst>
              <a:ext uri="{FF2B5EF4-FFF2-40B4-BE49-F238E27FC236}">
                <a16:creationId xmlns:a16="http://schemas.microsoft.com/office/drawing/2014/main" id="{AFEF958A-37AE-4770-97AC-2DC08E9497A6}"/>
              </a:ext>
              <a:ext uri="{C183D7F6-B498-43B3-948B-1728B52AA6E4}">
                <adec:decorative xmlns:adec="http://schemas.microsoft.com/office/drawing/2017/decorative" val="1"/>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671" t="632" r="-50607" b="8307"/>
          <a:stretch/>
        </p:blipFill>
        <p:spPr>
          <a:xfrm>
            <a:off x="4402667" y="-937259"/>
            <a:ext cx="14295119" cy="8938260"/>
          </a:xfrm>
          <a:prstGeom prst="rect">
            <a:avLst/>
          </a:prstGeom>
        </p:spPr>
      </p:pic>
      <p:sp useBgFill="1">
        <p:nvSpPr>
          <p:cNvPr id="75" name="Rectangle: Rounded Corners 21">
            <a:extLst>
              <a:ext uri="{FF2B5EF4-FFF2-40B4-BE49-F238E27FC236}">
                <a16:creationId xmlns:a16="http://schemas.microsoft.com/office/drawing/2014/main" id="{E4AE03E2-1C51-354B-9EB5-A7E601C41BD4}"/>
              </a:ext>
            </a:extLst>
          </p:cNvPr>
          <p:cNvSpPr/>
          <p:nvPr userDrawn="1"/>
        </p:nvSpPr>
        <p:spPr>
          <a:xfrm>
            <a:off x="8342377" y="-2592472"/>
            <a:ext cx="1536645" cy="3148973"/>
          </a:xfrm>
          <a:prstGeom prst="roundRect">
            <a:avLst/>
          </a:prstGeom>
          <a:solidFill>
            <a:schemeClr val="bg1"/>
          </a:solidFill>
          <a:ln>
            <a:noFill/>
          </a:ln>
          <a:effectLst>
            <a:outerShdw blurRad="571500" dist="393700" dir="2700000" sx="96000" sy="96000" algn="br" rotWithShape="0">
              <a:schemeClr val="tx1">
                <a:lumMod val="95000"/>
                <a:lumOff val="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76" name="Rectangle: Rounded Corners 21">
            <a:extLst>
              <a:ext uri="{FF2B5EF4-FFF2-40B4-BE49-F238E27FC236}">
                <a16:creationId xmlns:a16="http://schemas.microsoft.com/office/drawing/2014/main" id="{2674BEF3-0110-2A45-BCA0-F79B54D8C946}"/>
              </a:ext>
            </a:extLst>
          </p:cNvPr>
          <p:cNvSpPr/>
          <p:nvPr userDrawn="1"/>
        </p:nvSpPr>
        <p:spPr>
          <a:xfrm>
            <a:off x="10331432" y="-1489535"/>
            <a:ext cx="1536645" cy="3148973"/>
          </a:xfrm>
          <a:prstGeom prst="roundRect">
            <a:avLst/>
          </a:prstGeom>
          <a:solidFill>
            <a:schemeClr val="bg1"/>
          </a:solidFill>
          <a:ln>
            <a:noFill/>
          </a:ln>
          <a:effectLst>
            <a:outerShdw blurRad="571500" dist="393700" dir="2700000" sx="96000" sy="96000" algn="br" rotWithShape="0">
              <a:schemeClr val="tx1">
                <a:lumMod val="95000"/>
                <a:lumOff val="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77" name="Rectangle: Rounded Corners 21">
            <a:extLst>
              <a:ext uri="{FF2B5EF4-FFF2-40B4-BE49-F238E27FC236}">
                <a16:creationId xmlns:a16="http://schemas.microsoft.com/office/drawing/2014/main" id="{E0507A04-9726-A149-B7D8-4A5B1E296FD1}"/>
              </a:ext>
            </a:extLst>
          </p:cNvPr>
          <p:cNvSpPr/>
          <p:nvPr userDrawn="1"/>
        </p:nvSpPr>
        <p:spPr>
          <a:xfrm>
            <a:off x="8342377" y="904873"/>
            <a:ext cx="1536645" cy="3148973"/>
          </a:xfrm>
          <a:prstGeom prst="roundRect">
            <a:avLst/>
          </a:prstGeom>
          <a:solidFill>
            <a:schemeClr val="bg1"/>
          </a:solidFill>
          <a:ln>
            <a:noFill/>
          </a:ln>
          <a:effectLst>
            <a:outerShdw blurRad="571500" dist="393700" dir="2700000" sx="96000" sy="96000" algn="br" rotWithShape="0">
              <a:schemeClr val="tx1">
                <a:lumMod val="95000"/>
                <a:lumOff val="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78" name="Rectangle: Rounded Corners 21">
            <a:extLst>
              <a:ext uri="{FF2B5EF4-FFF2-40B4-BE49-F238E27FC236}">
                <a16:creationId xmlns:a16="http://schemas.microsoft.com/office/drawing/2014/main" id="{185FE4DE-6925-7B4F-BDB5-F8EF0F73FF74}"/>
              </a:ext>
            </a:extLst>
          </p:cNvPr>
          <p:cNvSpPr/>
          <p:nvPr userDrawn="1"/>
        </p:nvSpPr>
        <p:spPr>
          <a:xfrm>
            <a:off x="8342377" y="4364510"/>
            <a:ext cx="1536645" cy="3148973"/>
          </a:xfrm>
          <a:prstGeom prst="roundRect">
            <a:avLst/>
          </a:prstGeom>
          <a:solidFill>
            <a:schemeClr val="bg1"/>
          </a:solidFill>
          <a:ln>
            <a:noFill/>
          </a:ln>
          <a:effectLst>
            <a:outerShdw blurRad="571500" dist="393700" dir="2700000" sx="96000" sy="96000" algn="br" rotWithShape="0">
              <a:schemeClr val="tx1">
                <a:lumMod val="95000"/>
                <a:lumOff val="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79" name="Rectangle: Rounded Corners 21">
            <a:extLst>
              <a:ext uri="{FF2B5EF4-FFF2-40B4-BE49-F238E27FC236}">
                <a16:creationId xmlns:a16="http://schemas.microsoft.com/office/drawing/2014/main" id="{E9AD9043-A207-D14A-8E88-EB5992B7634B}"/>
              </a:ext>
            </a:extLst>
          </p:cNvPr>
          <p:cNvSpPr/>
          <p:nvPr userDrawn="1"/>
        </p:nvSpPr>
        <p:spPr>
          <a:xfrm>
            <a:off x="6334467" y="2016641"/>
            <a:ext cx="1536645" cy="3148973"/>
          </a:xfrm>
          <a:prstGeom prst="roundRect">
            <a:avLst/>
          </a:prstGeom>
          <a:solidFill>
            <a:schemeClr val="bg1"/>
          </a:solidFill>
          <a:ln>
            <a:noFill/>
          </a:ln>
          <a:effectLst>
            <a:outerShdw blurRad="571500" dist="393700" dir="2700000" sx="96000" sy="96000" algn="br" rotWithShape="0">
              <a:schemeClr val="tx1">
                <a:lumMod val="95000"/>
                <a:lumOff val="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80" name="Rectangle: Rounded Corners 21">
            <a:extLst>
              <a:ext uri="{FF2B5EF4-FFF2-40B4-BE49-F238E27FC236}">
                <a16:creationId xmlns:a16="http://schemas.microsoft.com/office/drawing/2014/main" id="{9BD43CB0-D926-E14C-86C7-AA1BCF5FDA0A}"/>
              </a:ext>
            </a:extLst>
          </p:cNvPr>
          <p:cNvSpPr/>
          <p:nvPr userDrawn="1"/>
        </p:nvSpPr>
        <p:spPr>
          <a:xfrm>
            <a:off x="6334467" y="5476278"/>
            <a:ext cx="1536645" cy="3148973"/>
          </a:xfrm>
          <a:prstGeom prst="roundRect">
            <a:avLst/>
          </a:prstGeom>
          <a:solidFill>
            <a:schemeClr val="bg1"/>
          </a:solidFill>
          <a:ln>
            <a:noFill/>
          </a:ln>
          <a:effectLst>
            <a:outerShdw blurRad="571500" dist="393700" dir="2700000" sx="96000" sy="96000" algn="br" rotWithShape="0">
              <a:schemeClr val="tx1">
                <a:lumMod val="95000"/>
                <a:lumOff val="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81" name="Rectangle: Rounded Corners 21">
            <a:extLst>
              <a:ext uri="{FF2B5EF4-FFF2-40B4-BE49-F238E27FC236}">
                <a16:creationId xmlns:a16="http://schemas.microsoft.com/office/drawing/2014/main" id="{3A288116-721C-0840-9045-957517565531}"/>
              </a:ext>
            </a:extLst>
          </p:cNvPr>
          <p:cNvSpPr/>
          <p:nvPr userDrawn="1"/>
        </p:nvSpPr>
        <p:spPr>
          <a:xfrm>
            <a:off x="10331432" y="2007810"/>
            <a:ext cx="1536645" cy="3148973"/>
          </a:xfrm>
          <a:prstGeom prst="roundRect">
            <a:avLst/>
          </a:prstGeom>
          <a:solidFill>
            <a:schemeClr val="bg1"/>
          </a:solidFill>
          <a:ln>
            <a:noFill/>
          </a:ln>
          <a:effectLst>
            <a:outerShdw blurRad="571500" dist="393700" dir="2700000" sx="96000" sy="96000" algn="br" rotWithShape="0">
              <a:schemeClr val="tx1">
                <a:lumMod val="95000"/>
                <a:lumOff val="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82" name="Rectangle: Rounded Corners 21">
            <a:extLst>
              <a:ext uri="{FF2B5EF4-FFF2-40B4-BE49-F238E27FC236}">
                <a16:creationId xmlns:a16="http://schemas.microsoft.com/office/drawing/2014/main" id="{43A85EED-FCF7-8646-9B0A-99370A8F1601}"/>
              </a:ext>
            </a:extLst>
          </p:cNvPr>
          <p:cNvSpPr/>
          <p:nvPr userDrawn="1"/>
        </p:nvSpPr>
        <p:spPr>
          <a:xfrm>
            <a:off x="10331432" y="5476874"/>
            <a:ext cx="1536645" cy="3148973"/>
          </a:xfrm>
          <a:prstGeom prst="roundRect">
            <a:avLst/>
          </a:prstGeom>
          <a:solidFill>
            <a:schemeClr val="bg1"/>
          </a:solidFill>
          <a:ln>
            <a:noFill/>
          </a:ln>
          <a:effectLst>
            <a:outerShdw blurRad="571500" dist="393700" dir="2700000" sx="96000" sy="96000" algn="br" rotWithShape="0">
              <a:schemeClr val="tx1">
                <a:lumMod val="95000"/>
                <a:lumOff val="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68" name="Rectangle: Rounded Corners 21">
            <a:extLst>
              <a:ext uri="{FF2B5EF4-FFF2-40B4-BE49-F238E27FC236}">
                <a16:creationId xmlns:a16="http://schemas.microsoft.com/office/drawing/2014/main" id="{1EF9F7CF-C60F-A949-8CBB-D4155737C1C0}"/>
              </a:ext>
            </a:extLst>
          </p:cNvPr>
          <p:cNvSpPr/>
          <p:nvPr/>
        </p:nvSpPr>
        <p:spPr>
          <a:xfrm>
            <a:off x="6350005" y="-1469255"/>
            <a:ext cx="1536645" cy="3148973"/>
          </a:xfrm>
          <a:prstGeom prst="roundRect">
            <a:avLst/>
          </a:prstGeom>
          <a:solidFill>
            <a:schemeClr val="bg1"/>
          </a:solidFill>
          <a:ln>
            <a:noFill/>
          </a:ln>
          <a:effectLst>
            <a:outerShdw blurRad="571500" dist="393700" dir="2700000" sx="96000" sy="96000" algn="br" rotWithShape="0">
              <a:schemeClr val="tx1">
                <a:lumMod val="95000"/>
                <a:lumOff val="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1">
            <a:extLst>
              <a:ext uri="{FF2B5EF4-FFF2-40B4-BE49-F238E27FC236}">
                <a16:creationId xmlns:a16="http://schemas.microsoft.com/office/drawing/2014/main" id="{AAC3F5B3-72B2-5247-8614-0945E6729534}"/>
              </a:ext>
            </a:extLst>
          </p:cNvPr>
          <p:cNvSpPr>
            <a:spLocks noGrp="1"/>
          </p:cNvSpPr>
          <p:nvPr>
            <p:ph type="title"/>
          </p:nvPr>
        </p:nvSpPr>
        <p:spPr>
          <a:xfrm>
            <a:off x="588263" y="457200"/>
            <a:ext cx="3814404" cy="1107996"/>
          </a:xfrm>
        </p:spPr>
        <p:txBody>
          <a:bodyPr>
            <a:spAutoFit/>
          </a:bodyPr>
          <a:lstStyle/>
          <a:p>
            <a:r>
              <a:rPr lang="en-US"/>
              <a:t>Click to edit Master title style</a:t>
            </a:r>
          </a:p>
        </p:txBody>
      </p:sp>
      <p:sp>
        <p:nvSpPr>
          <p:cNvPr id="4" name="Text Placeholder 3">
            <a:extLst>
              <a:ext uri="{FF2B5EF4-FFF2-40B4-BE49-F238E27FC236}">
                <a16:creationId xmlns:a16="http://schemas.microsoft.com/office/drawing/2014/main" id="{F22547CE-BF6C-5140-A36A-3F8EC03AD48B}"/>
              </a:ext>
            </a:extLst>
          </p:cNvPr>
          <p:cNvSpPr>
            <a:spLocks noGrp="1"/>
          </p:cNvSpPr>
          <p:nvPr>
            <p:ph type="body" sz="quarter" idx="10"/>
          </p:nvPr>
        </p:nvSpPr>
        <p:spPr>
          <a:xfrm>
            <a:off x="588263" y="1779318"/>
            <a:ext cx="3568500" cy="1529971"/>
          </a:xfrm>
        </p:spPr>
        <p:txBody>
          <a:bodyPr wrap="square">
            <a:spAutoFit/>
          </a:bodyPr>
          <a:lstStyle>
            <a:lvl1pPr marL="0" indent="0">
              <a:lnSpc>
                <a:spcPct val="110000"/>
              </a:lnSpc>
              <a:spcBef>
                <a:spcPts val="1224"/>
              </a:spcBef>
              <a:buClr>
                <a:schemeClr val="tx1"/>
              </a:buClr>
              <a:buFont typeface="Wingdings" panose="05000000000000000000" pitchFamily="2" charset="2"/>
              <a:buNone/>
              <a:defRPr sz="1600" b="0">
                <a:latin typeface="Segoe UI" panose="020B0502040204020203" pitchFamily="34" charset="0"/>
                <a:cs typeface="Segoe UI" panose="020B0502040204020203" pitchFamily="34" charset="0"/>
              </a:defRPr>
            </a:lvl1pPr>
            <a:lvl2pPr marL="255588" indent="0">
              <a:lnSpc>
                <a:spcPct val="110000"/>
              </a:lnSpc>
              <a:buFont typeface="Wingdings" panose="05000000000000000000" pitchFamily="2" charset="2"/>
              <a:buNone/>
              <a:defRPr sz="1600" b="0"/>
            </a:lvl2pPr>
            <a:lvl3pPr marL="450850" indent="0">
              <a:lnSpc>
                <a:spcPct val="110000"/>
              </a:lnSpc>
              <a:buFont typeface="Wingdings" panose="05000000000000000000" pitchFamily="2" charset="2"/>
              <a:buNone/>
              <a:tabLst/>
              <a:defRPr sz="1600" b="0"/>
            </a:lvl3pPr>
            <a:lvl4pPr marL="652462" indent="0">
              <a:lnSpc>
                <a:spcPct val="110000"/>
              </a:lnSpc>
              <a:buFont typeface="Wingdings" panose="05000000000000000000" pitchFamily="2" charset="2"/>
              <a:buNone/>
              <a:defRPr sz="1600" b="0"/>
            </a:lvl4pPr>
            <a:lvl5pPr marL="854075" indent="0">
              <a:lnSpc>
                <a:spcPct val="110000"/>
              </a:lnSpc>
              <a:buFont typeface="Wingdings" panose="05000000000000000000" pitchFamily="2" charset="2"/>
              <a:buNone/>
              <a:tabLst/>
              <a:defRPr sz="16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C3AB1450-D2F0-004A-AFE5-9A4C12DE5802}"/>
              </a:ext>
            </a:extLst>
          </p:cNvPr>
          <p:cNvPicPr>
            <a:picLocks noChangeAspect="1"/>
          </p:cNvPicPr>
          <p:nvPr userDrawn="1"/>
        </p:nvPicPr>
        <p:blipFill>
          <a:blip r:embed="rId4"/>
          <a:stretch>
            <a:fillRect/>
          </a:stretch>
        </p:blipFill>
        <p:spPr>
          <a:xfrm>
            <a:off x="8295364" y="829909"/>
            <a:ext cx="1646297" cy="3263880"/>
          </a:xfrm>
          <a:prstGeom prst="rect">
            <a:avLst/>
          </a:prstGeom>
        </p:spPr>
      </p:pic>
      <p:pic>
        <p:nvPicPr>
          <p:cNvPr id="9" name="Picture 8">
            <a:extLst>
              <a:ext uri="{FF2B5EF4-FFF2-40B4-BE49-F238E27FC236}">
                <a16:creationId xmlns:a16="http://schemas.microsoft.com/office/drawing/2014/main" id="{E0AE102A-53D7-EA43-9643-AB383EB47CB7}"/>
              </a:ext>
            </a:extLst>
          </p:cNvPr>
          <p:cNvPicPr>
            <a:picLocks noChangeAspect="1"/>
          </p:cNvPicPr>
          <p:nvPr userDrawn="1"/>
        </p:nvPicPr>
        <p:blipFill>
          <a:blip r:embed="rId4"/>
          <a:stretch>
            <a:fillRect/>
          </a:stretch>
        </p:blipFill>
        <p:spPr>
          <a:xfrm>
            <a:off x="8295364" y="4309744"/>
            <a:ext cx="1646297" cy="3263880"/>
          </a:xfrm>
          <a:prstGeom prst="rect">
            <a:avLst/>
          </a:prstGeom>
        </p:spPr>
      </p:pic>
      <p:pic>
        <p:nvPicPr>
          <p:cNvPr id="19" name="Picture 18">
            <a:extLst>
              <a:ext uri="{FF2B5EF4-FFF2-40B4-BE49-F238E27FC236}">
                <a16:creationId xmlns:a16="http://schemas.microsoft.com/office/drawing/2014/main" id="{DAB40916-A688-0B45-9F89-CBA181373AE9}"/>
              </a:ext>
            </a:extLst>
          </p:cNvPr>
          <p:cNvPicPr>
            <a:picLocks noChangeAspect="1"/>
          </p:cNvPicPr>
          <p:nvPr userDrawn="1"/>
        </p:nvPicPr>
        <p:blipFill>
          <a:blip r:embed="rId4"/>
          <a:stretch>
            <a:fillRect/>
          </a:stretch>
        </p:blipFill>
        <p:spPr>
          <a:xfrm>
            <a:off x="8295364" y="-2649925"/>
            <a:ext cx="1646297" cy="3263880"/>
          </a:xfrm>
          <a:prstGeom prst="rect">
            <a:avLst/>
          </a:prstGeom>
        </p:spPr>
      </p:pic>
      <p:pic>
        <p:nvPicPr>
          <p:cNvPr id="22" name="Picture 21">
            <a:extLst>
              <a:ext uri="{FF2B5EF4-FFF2-40B4-BE49-F238E27FC236}">
                <a16:creationId xmlns:a16="http://schemas.microsoft.com/office/drawing/2014/main" id="{F0D5EFFD-6D68-B447-A42C-884B706E848E}"/>
              </a:ext>
            </a:extLst>
          </p:cNvPr>
          <p:cNvPicPr>
            <a:picLocks noChangeAspect="1"/>
          </p:cNvPicPr>
          <p:nvPr userDrawn="1"/>
        </p:nvPicPr>
        <p:blipFill>
          <a:blip r:embed="rId4"/>
          <a:stretch>
            <a:fillRect/>
          </a:stretch>
        </p:blipFill>
        <p:spPr>
          <a:xfrm>
            <a:off x="6295180" y="1939386"/>
            <a:ext cx="1646297" cy="3263880"/>
          </a:xfrm>
          <a:prstGeom prst="rect">
            <a:avLst/>
          </a:prstGeom>
        </p:spPr>
      </p:pic>
      <p:pic>
        <p:nvPicPr>
          <p:cNvPr id="25" name="Picture 24">
            <a:extLst>
              <a:ext uri="{FF2B5EF4-FFF2-40B4-BE49-F238E27FC236}">
                <a16:creationId xmlns:a16="http://schemas.microsoft.com/office/drawing/2014/main" id="{5B5FF592-A113-5C40-8EC5-F14D8AB82F89}"/>
              </a:ext>
            </a:extLst>
          </p:cNvPr>
          <p:cNvPicPr>
            <a:picLocks noChangeAspect="1"/>
          </p:cNvPicPr>
          <p:nvPr userDrawn="1"/>
        </p:nvPicPr>
        <p:blipFill>
          <a:blip r:embed="rId4"/>
          <a:stretch>
            <a:fillRect/>
          </a:stretch>
        </p:blipFill>
        <p:spPr>
          <a:xfrm>
            <a:off x="6295180" y="5419221"/>
            <a:ext cx="1646297" cy="3263880"/>
          </a:xfrm>
          <a:prstGeom prst="rect">
            <a:avLst/>
          </a:prstGeom>
        </p:spPr>
      </p:pic>
      <p:pic>
        <p:nvPicPr>
          <p:cNvPr id="28" name="Picture 27">
            <a:extLst>
              <a:ext uri="{FF2B5EF4-FFF2-40B4-BE49-F238E27FC236}">
                <a16:creationId xmlns:a16="http://schemas.microsoft.com/office/drawing/2014/main" id="{138B9A26-8551-0E4F-A5FD-7C7E0F1D56AD}"/>
              </a:ext>
            </a:extLst>
          </p:cNvPr>
          <p:cNvPicPr>
            <a:picLocks noChangeAspect="1"/>
          </p:cNvPicPr>
          <p:nvPr userDrawn="1"/>
        </p:nvPicPr>
        <p:blipFill>
          <a:blip r:embed="rId4"/>
          <a:stretch>
            <a:fillRect/>
          </a:stretch>
        </p:blipFill>
        <p:spPr>
          <a:xfrm>
            <a:off x="6295180" y="-1540448"/>
            <a:ext cx="1646297" cy="3263880"/>
          </a:xfrm>
          <a:prstGeom prst="rect">
            <a:avLst/>
          </a:prstGeom>
          <a:noFill/>
          <a:ln>
            <a:noFill/>
          </a:ln>
          <a:effectLst/>
        </p:spPr>
      </p:pic>
      <p:pic>
        <p:nvPicPr>
          <p:cNvPr id="31" name="Picture 30">
            <a:extLst>
              <a:ext uri="{FF2B5EF4-FFF2-40B4-BE49-F238E27FC236}">
                <a16:creationId xmlns:a16="http://schemas.microsoft.com/office/drawing/2014/main" id="{AFBE15F2-E5B9-A641-A8BC-BFE0C354E662}"/>
              </a:ext>
            </a:extLst>
          </p:cNvPr>
          <p:cNvPicPr>
            <a:picLocks noChangeAspect="1"/>
          </p:cNvPicPr>
          <p:nvPr userDrawn="1"/>
        </p:nvPicPr>
        <p:blipFill>
          <a:blip r:embed="rId4"/>
          <a:stretch>
            <a:fillRect/>
          </a:stretch>
        </p:blipFill>
        <p:spPr>
          <a:xfrm>
            <a:off x="10279922" y="1939386"/>
            <a:ext cx="1646297" cy="3263880"/>
          </a:xfrm>
          <a:prstGeom prst="rect">
            <a:avLst/>
          </a:prstGeom>
        </p:spPr>
      </p:pic>
      <p:pic>
        <p:nvPicPr>
          <p:cNvPr id="34" name="Picture 33">
            <a:extLst>
              <a:ext uri="{FF2B5EF4-FFF2-40B4-BE49-F238E27FC236}">
                <a16:creationId xmlns:a16="http://schemas.microsoft.com/office/drawing/2014/main" id="{56E57792-DF95-9A49-B479-6F467D1FCEBC}"/>
              </a:ext>
            </a:extLst>
          </p:cNvPr>
          <p:cNvPicPr>
            <a:picLocks noChangeAspect="1"/>
          </p:cNvPicPr>
          <p:nvPr userDrawn="1"/>
        </p:nvPicPr>
        <p:blipFill>
          <a:blip r:embed="rId4"/>
          <a:stretch>
            <a:fillRect/>
          </a:stretch>
        </p:blipFill>
        <p:spPr>
          <a:xfrm>
            <a:off x="10279922" y="5419221"/>
            <a:ext cx="1646297" cy="3263880"/>
          </a:xfrm>
          <a:prstGeom prst="rect">
            <a:avLst/>
          </a:prstGeom>
        </p:spPr>
      </p:pic>
      <p:pic>
        <p:nvPicPr>
          <p:cNvPr id="37" name="Picture 36">
            <a:extLst>
              <a:ext uri="{FF2B5EF4-FFF2-40B4-BE49-F238E27FC236}">
                <a16:creationId xmlns:a16="http://schemas.microsoft.com/office/drawing/2014/main" id="{F509A7D8-1D9F-FA4F-925A-3FF35543AC43}"/>
              </a:ext>
            </a:extLst>
          </p:cNvPr>
          <p:cNvPicPr>
            <a:picLocks noChangeAspect="1"/>
          </p:cNvPicPr>
          <p:nvPr userDrawn="1"/>
        </p:nvPicPr>
        <p:blipFill>
          <a:blip r:embed="rId4"/>
          <a:stretch>
            <a:fillRect/>
          </a:stretch>
        </p:blipFill>
        <p:spPr>
          <a:xfrm>
            <a:off x="10279922" y="-1540448"/>
            <a:ext cx="1646297" cy="3263880"/>
          </a:xfrm>
          <a:prstGeom prst="rect">
            <a:avLst/>
          </a:prstGeom>
        </p:spPr>
      </p:pic>
      <p:sp>
        <p:nvSpPr>
          <p:cNvPr id="58" name="Picture Placeholder 3">
            <a:extLst>
              <a:ext uri="{FF2B5EF4-FFF2-40B4-BE49-F238E27FC236}">
                <a16:creationId xmlns:a16="http://schemas.microsoft.com/office/drawing/2014/main" id="{488D0316-B227-4E47-A000-0E9EB0A55BC1}"/>
              </a:ext>
            </a:extLst>
          </p:cNvPr>
          <p:cNvSpPr>
            <a:spLocks noGrp="1" noChangeAspect="1"/>
          </p:cNvSpPr>
          <p:nvPr>
            <p:ph type="pic" sz="quarter" idx="11"/>
          </p:nvPr>
        </p:nvSpPr>
        <p:spPr>
          <a:xfrm>
            <a:off x="6398467" y="2021418"/>
            <a:ext cx="1440599" cy="3099816"/>
          </a:xfrm>
          <a:custGeom>
            <a:avLst/>
            <a:gdLst>
              <a:gd name="connsiteX0" fmla="*/ 2345192 w 2857253"/>
              <a:gd name="connsiteY0" fmla="*/ 986 h 6164592"/>
              <a:gd name="connsiteX1" fmla="*/ 2508845 w 2857253"/>
              <a:gd name="connsiteY1" fmla="*/ 10328 h 6164592"/>
              <a:gd name="connsiteX2" fmla="*/ 2663147 w 2857253"/>
              <a:gd name="connsiteY2" fmla="*/ 36020 h 6164592"/>
              <a:gd name="connsiteX3" fmla="*/ 2829139 w 2857253"/>
              <a:gd name="connsiteY3" fmla="*/ 211188 h 6164592"/>
              <a:gd name="connsiteX4" fmla="*/ 2845504 w 2857253"/>
              <a:gd name="connsiteY4" fmla="*/ 559190 h 6164592"/>
              <a:gd name="connsiteX5" fmla="*/ 2833814 w 2857253"/>
              <a:gd name="connsiteY5" fmla="*/ 799756 h 6164592"/>
              <a:gd name="connsiteX6" fmla="*/ 2840828 w 2857253"/>
              <a:gd name="connsiteY6" fmla="*/ 1180456 h 6164592"/>
              <a:gd name="connsiteX7" fmla="*/ 2850180 w 2857253"/>
              <a:gd name="connsiteY7" fmla="*/ 1395330 h 6164592"/>
              <a:gd name="connsiteX8" fmla="*/ 2850180 w 2857253"/>
              <a:gd name="connsiteY8" fmla="*/ 5741852 h 6164592"/>
              <a:gd name="connsiteX9" fmla="*/ 2826801 w 2857253"/>
              <a:gd name="connsiteY9" fmla="*/ 5963732 h 6164592"/>
              <a:gd name="connsiteX10" fmla="*/ 2766015 w 2857253"/>
              <a:gd name="connsiteY10" fmla="*/ 6054820 h 6164592"/>
              <a:gd name="connsiteX11" fmla="*/ 2429356 w 2857253"/>
              <a:gd name="connsiteY11" fmla="*/ 6164592 h 6164592"/>
              <a:gd name="connsiteX12" fmla="*/ 362647 w 2857253"/>
              <a:gd name="connsiteY12" fmla="*/ 6162257 h 6164592"/>
              <a:gd name="connsiteX13" fmla="*/ 103139 w 2857253"/>
              <a:gd name="connsiteY13" fmla="*/ 6078176 h 6164592"/>
              <a:gd name="connsiteX14" fmla="*/ 7285 w 2857253"/>
              <a:gd name="connsiteY14" fmla="*/ 5828268 h 6164592"/>
              <a:gd name="connsiteX15" fmla="*/ 7285 w 2857253"/>
              <a:gd name="connsiteY15" fmla="*/ 3915425 h 6164592"/>
              <a:gd name="connsiteX16" fmla="*/ 7285 w 2857253"/>
              <a:gd name="connsiteY16" fmla="*/ 3214749 h 6164592"/>
              <a:gd name="connsiteX17" fmla="*/ 4947 w 2857253"/>
              <a:gd name="connsiteY17" fmla="*/ 687648 h 6164592"/>
              <a:gd name="connsiteX18" fmla="*/ 2609 w 2857253"/>
              <a:gd name="connsiteY18" fmla="*/ 398035 h 6164592"/>
              <a:gd name="connsiteX19" fmla="*/ 47029 w 2857253"/>
              <a:gd name="connsiteY19" fmla="*/ 152799 h 6164592"/>
              <a:gd name="connsiteX20" fmla="*/ 234062 w 2857253"/>
              <a:gd name="connsiteY20" fmla="*/ 22006 h 6164592"/>
              <a:gd name="connsiteX21" fmla="*/ 545003 w 2857253"/>
              <a:gd name="connsiteY21" fmla="*/ 7993 h 6164592"/>
              <a:gd name="connsiteX22" fmla="*/ 615141 w 2857253"/>
              <a:gd name="connsiteY22" fmla="*/ 85067 h 6164592"/>
              <a:gd name="connsiteX23" fmla="*/ 790484 w 2857253"/>
              <a:gd name="connsiteY23" fmla="*/ 250893 h 6164592"/>
              <a:gd name="connsiteX24" fmla="*/ 2022561 w 2857253"/>
              <a:gd name="connsiteY24" fmla="*/ 250893 h 6164592"/>
              <a:gd name="connsiteX25" fmla="*/ 2195566 w 2857253"/>
              <a:gd name="connsiteY25" fmla="*/ 178490 h 6164592"/>
              <a:gd name="connsiteX26" fmla="*/ 2230634 w 2857253"/>
              <a:gd name="connsiteY26" fmla="*/ 92074 h 6164592"/>
              <a:gd name="connsiteX27" fmla="*/ 2345192 w 2857253"/>
              <a:gd name="connsiteY27" fmla="*/ 986 h 6164592"/>
              <a:gd name="connsiteX0" fmla="*/ 2345192 w 2857253"/>
              <a:gd name="connsiteY0" fmla="*/ 986 h 6164592"/>
              <a:gd name="connsiteX1" fmla="*/ 2508845 w 2857253"/>
              <a:gd name="connsiteY1" fmla="*/ 10328 h 6164592"/>
              <a:gd name="connsiteX2" fmla="*/ 2663147 w 2857253"/>
              <a:gd name="connsiteY2" fmla="*/ 36020 h 6164592"/>
              <a:gd name="connsiteX3" fmla="*/ 2829139 w 2857253"/>
              <a:gd name="connsiteY3" fmla="*/ 211188 h 6164592"/>
              <a:gd name="connsiteX4" fmla="*/ 2845504 w 2857253"/>
              <a:gd name="connsiteY4" fmla="*/ 554819 h 6164592"/>
              <a:gd name="connsiteX5" fmla="*/ 2833814 w 2857253"/>
              <a:gd name="connsiteY5" fmla="*/ 799756 h 6164592"/>
              <a:gd name="connsiteX6" fmla="*/ 2840828 w 2857253"/>
              <a:gd name="connsiteY6" fmla="*/ 1180456 h 6164592"/>
              <a:gd name="connsiteX7" fmla="*/ 2850180 w 2857253"/>
              <a:gd name="connsiteY7" fmla="*/ 1395330 h 6164592"/>
              <a:gd name="connsiteX8" fmla="*/ 2850180 w 2857253"/>
              <a:gd name="connsiteY8" fmla="*/ 5741852 h 6164592"/>
              <a:gd name="connsiteX9" fmla="*/ 2826801 w 2857253"/>
              <a:gd name="connsiteY9" fmla="*/ 5963732 h 6164592"/>
              <a:gd name="connsiteX10" fmla="*/ 2766015 w 2857253"/>
              <a:gd name="connsiteY10" fmla="*/ 6054820 h 6164592"/>
              <a:gd name="connsiteX11" fmla="*/ 2429356 w 2857253"/>
              <a:gd name="connsiteY11" fmla="*/ 6164592 h 6164592"/>
              <a:gd name="connsiteX12" fmla="*/ 362647 w 2857253"/>
              <a:gd name="connsiteY12" fmla="*/ 6162257 h 6164592"/>
              <a:gd name="connsiteX13" fmla="*/ 103139 w 2857253"/>
              <a:gd name="connsiteY13" fmla="*/ 6078176 h 6164592"/>
              <a:gd name="connsiteX14" fmla="*/ 7285 w 2857253"/>
              <a:gd name="connsiteY14" fmla="*/ 5828268 h 6164592"/>
              <a:gd name="connsiteX15" fmla="*/ 7285 w 2857253"/>
              <a:gd name="connsiteY15" fmla="*/ 3915425 h 6164592"/>
              <a:gd name="connsiteX16" fmla="*/ 7285 w 2857253"/>
              <a:gd name="connsiteY16" fmla="*/ 3214749 h 6164592"/>
              <a:gd name="connsiteX17" fmla="*/ 4947 w 2857253"/>
              <a:gd name="connsiteY17" fmla="*/ 687648 h 6164592"/>
              <a:gd name="connsiteX18" fmla="*/ 2609 w 2857253"/>
              <a:gd name="connsiteY18" fmla="*/ 398035 h 6164592"/>
              <a:gd name="connsiteX19" fmla="*/ 47029 w 2857253"/>
              <a:gd name="connsiteY19" fmla="*/ 152799 h 6164592"/>
              <a:gd name="connsiteX20" fmla="*/ 234062 w 2857253"/>
              <a:gd name="connsiteY20" fmla="*/ 22006 h 6164592"/>
              <a:gd name="connsiteX21" fmla="*/ 545003 w 2857253"/>
              <a:gd name="connsiteY21" fmla="*/ 7993 h 6164592"/>
              <a:gd name="connsiteX22" fmla="*/ 615141 w 2857253"/>
              <a:gd name="connsiteY22" fmla="*/ 85067 h 6164592"/>
              <a:gd name="connsiteX23" fmla="*/ 790484 w 2857253"/>
              <a:gd name="connsiteY23" fmla="*/ 250893 h 6164592"/>
              <a:gd name="connsiteX24" fmla="*/ 2022561 w 2857253"/>
              <a:gd name="connsiteY24" fmla="*/ 250893 h 6164592"/>
              <a:gd name="connsiteX25" fmla="*/ 2195566 w 2857253"/>
              <a:gd name="connsiteY25" fmla="*/ 178490 h 6164592"/>
              <a:gd name="connsiteX26" fmla="*/ 2230634 w 2857253"/>
              <a:gd name="connsiteY26" fmla="*/ 92074 h 6164592"/>
              <a:gd name="connsiteX27" fmla="*/ 2345192 w 2857253"/>
              <a:gd name="connsiteY27" fmla="*/ 986 h 6164592"/>
              <a:gd name="connsiteX0" fmla="*/ 2345192 w 2857253"/>
              <a:gd name="connsiteY0" fmla="*/ 986 h 6164592"/>
              <a:gd name="connsiteX1" fmla="*/ 2508845 w 2857253"/>
              <a:gd name="connsiteY1" fmla="*/ 10328 h 6164592"/>
              <a:gd name="connsiteX2" fmla="*/ 2663147 w 2857253"/>
              <a:gd name="connsiteY2" fmla="*/ 36020 h 6164592"/>
              <a:gd name="connsiteX3" fmla="*/ 2829139 w 2857253"/>
              <a:gd name="connsiteY3" fmla="*/ 211188 h 6164592"/>
              <a:gd name="connsiteX4" fmla="*/ 2845504 w 2857253"/>
              <a:gd name="connsiteY4" fmla="*/ 554819 h 6164592"/>
              <a:gd name="connsiteX5" fmla="*/ 2851299 w 2857253"/>
              <a:gd name="connsiteY5" fmla="*/ 812870 h 6164592"/>
              <a:gd name="connsiteX6" fmla="*/ 2840828 w 2857253"/>
              <a:gd name="connsiteY6" fmla="*/ 1180456 h 6164592"/>
              <a:gd name="connsiteX7" fmla="*/ 2850180 w 2857253"/>
              <a:gd name="connsiteY7" fmla="*/ 1395330 h 6164592"/>
              <a:gd name="connsiteX8" fmla="*/ 2850180 w 2857253"/>
              <a:gd name="connsiteY8" fmla="*/ 5741852 h 6164592"/>
              <a:gd name="connsiteX9" fmla="*/ 2826801 w 2857253"/>
              <a:gd name="connsiteY9" fmla="*/ 5963732 h 6164592"/>
              <a:gd name="connsiteX10" fmla="*/ 2766015 w 2857253"/>
              <a:gd name="connsiteY10" fmla="*/ 6054820 h 6164592"/>
              <a:gd name="connsiteX11" fmla="*/ 2429356 w 2857253"/>
              <a:gd name="connsiteY11" fmla="*/ 6164592 h 6164592"/>
              <a:gd name="connsiteX12" fmla="*/ 362647 w 2857253"/>
              <a:gd name="connsiteY12" fmla="*/ 6162257 h 6164592"/>
              <a:gd name="connsiteX13" fmla="*/ 103139 w 2857253"/>
              <a:gd name="connsiteY13" fmla="*/ 6078176 h 6164592"/>
              <a:gd name="connsiteX14" fmla="*/ 7285 w 2857253"/>
              <a:gd name="connsiteY14" fmla="*/ 5828268 h 6164592"/>
              <a:gd name="connsiteX15" fmla="*/ 7285 w 2857253"/>
              <a:gd name="connsiteY15" fmla="*/ 3915425 h 6164592"/>
              <a:gd name="connsiteX16" fmla="*/ 7285 w 2857253"/>
              <a:gd name="connsiteY16" fmla="*/ 3214749 h 6164592"/>
              <a:gd name="connsiteX17" fmla="*/ 4947 w 2857253"/>
              <a:gd name="connsiteY17" fmla="*/ 687648 h 6164592"/>
              <a:gd name="connsiteX18" fmla="*/ 2609 w 2857253"/>
              <a:gd name="connsiteY18" fmla="*/ 398035 h 6164592"/>
              <a:gd name="connsiteX19" fmla="*/ 47029 w 2857253"/>
              <a:gd name="connsiteY19" fmla="*/ 152799 h 6164592"/>
              <a:gd name="connsiteX20" fmla="*/ 234062 w 2857253"/>
              <a:gd name="connsiteY20" fmla="*/ 22006 h 6164592"/>
              <a:gd name="connsiteX21" fmla="*/ 545003 w 2857253"/>
              <a:gd name="connsiteY21" fmla="*/ 7993 h 6164592"/>
              <a:gd name="connsiteX22" fmla="*/ 615141 w 2857253"/>
              <a:gd name="connsiteY22" fmla="*/ 85067 h 6164592"/>
              <a:gd name="connsiteX23" fmla="*/ 790484 w 2857253"/>
              <a:gd name="connsiteY23" fmla="*/ 250893 h 6164592"/>
              <a:gd name="connsiteX24" fmla="*/ 2022561 w 2857253"/>
              <a:gd name="connsiteY24" fmla="*/ 250893 h 6164592"/>
              <a:gd name="connsiteX25" fmla="*/ 2195566 w 2857253"/>
              <a:gd name="connsiteY25" fmla="*/ 178490 h 6164592"/>
              <a:gd name="connsiteX26" fmla="*/ 2230634 w 2857253"/>
              <a:gd name="connsiteY26" fmla="*/ 92074 h 6164592"/>
              <a:gd name="connsiteX27" fmla="*/ 2345192 w 2857253"/>
              <a:gd name="connsiteY27" fmla="*/ 986 h 6164592"/>
              <a:gd name="connsiteX0" fmla="*/ 2345192 w 2857253"/>
              <a:gd name="connsiteY0" fmla="*/ 986 h 6164592"/>
              <a:gd name="connsiteX1" fmla="*/ 2508845 w 2857253"/>
              <a:gd name="connsiteY1" fmla="*/ 10328 h 6164592"/>
              <a:gd name="connsiteX2" fmla="*/ 2663147 w 2857253"/>
              <a:gd name="connsiteY2" fmla="*/ 36020 h 6164592"/>
              <a:gd name="connsiteX3" fmla="*/ 2829139 w 2857253"/>
              <a:gd name="connsiteY3" fmla="*/ 211188 h 6164592"/>
              <a:gd name="connsiteX4" fmla="*/ 2845504 w 2857253"/>
              <a:gd name="connsiteY4" fmla="*/ 554819 h 6164592"/>
              <a:gd name="connsiteX5" fmla="*/ 2851299 w 2857253"/>
              <a:gd name="connsiteY5" fmla="*/ 812870 h 6164592"/>
              <a:gd name="connsiteX6" fmla="*/ 2853943 w 2857253"/>
              <a:gd name="connsiteY6" fmla="*/ 1184828 h 6164592"/>
              <a:gd name="connsiteX7" fmla="*/ 2850180 w 2857253"/>
              <a:gd name="connsiteY7" fmla="*/ 1395330 h 6164592"/>
              <a:gd name="connsiteX8" fmla="*/ 2850180 w 2857253"/>
              <a:gd name="connsiteY8" fmla="*/ 5741852 h 6164592"/>
              <a:gd name="connsiteX9" fmla="*/ 2826801 w 2857253"/>
              <a:gd name="connsiteY9" fmla="*/ 5963732 h 6164592"/>
              <a:gd name="connsiteX10" fmla="*/ 2766015 w 2857253"/>
              <a:gd name="connsiteY10" fmla="*/ 6054820 h 6164592"/>
              <a:gd name="connsiteX11" fmla="*/ 2429356 w 2857253"/>
              <a:gd name="connsiteY11" fmla="*/ 6164592 h 6164592"/>
              <a:gd name="connsiteX12" fmla="*/ 362647 w 2857253"/>
              <a:gd name="connsiteY12" fmla="*/ 6162257 h 6164592"/>
              <a:gd name="connsiteX13" fmla="*/ 103139 w 2857253"/>
              <a:gd name="connsiteY13" fmla="*/ 6078176 h 6164592"/>
              <a:gd name="connsiteX14" fmla="*/ 7285 w 2857253"/>
              <a:gd name="connsiteY14" fmla="*/ 5828268 h 6164592"/>
              <a:gd name="connsiteX15" fmla="*/ 7285 w 2857253"/>
              <a:gd name="connsiteY15" fmla="*/ 3915425 h 6164592"/>
              <a:gd name="connsiteX16" fmla="*/ 7285 w 2857253"/>
              <a:gd name="connsiteY16" fmla="*/ 3214749 h 6164592"/>
              <a:gd name="connsiteX17" fmla="*/ 4947 w 2857253"/>
              <a:gd name="connsiteY17" fmla="*/ 687648 h 6164592"/>
              <a:gd name="connsiteX18" fmla="*/ 2609 w 2857253"/>
              <a:gd name="connsiteY18" fmla="*/ 398035 h 6164592"/>
              <a:gd name="connsiteX19" fmla="*/ 47029 w 2857253"/>
              <a:gd name="connsiteY19" fmla="*/ 152799 h 6164592"/>
              <a:gd name="connsiteX20" fmla="*/ 234062 w 2857253"/>
              <a:gd name="connsiteY20" fmla="*/ 22006 h 6164592"/>
              <a:gd name="connsiteX21" fmla="*/ 545003 w 2857253"/>
              <a:gd name="connsiteY21" fmla="*/ 7993 h 6164592"/>
              <a:gd name="connsiteX22" fmla="*/ 615141 w 2857253"/>
              <a:gd name="connsiteY22" fmla="*/ 85067 h 6164592"/>
              <a:gd name="connsiteX23" fmla="*/ 790484 w 2857253"/>
              <a:gd name="connsiteY23" fmla="*/ 250893 h 6164592"/>
              <a:gd name="connsiteX24" fmla="*/ 2022561 w 2857253"/>
              <a:gd name="connsiteY24" fmla="*/ 250893 h 6164592"/>
              <a:gd name="connsiteX25" fmla="*/ 2195566 w 2857253"/>
              <a:gd name="connsiteY25" fmla="*/ 178490 h 6164592"/>
              <a:gd name="connsiteX26" fmla="*/ 2230634 w 2857253"/>
              <a:gd name="connsiteY26" fmla="*/ 92074 h 6164592"/>
              <a:gd name="connsiteX27" fmla="*/ 2345192 w 2857253"/>
              <a:gd name="connsiteY27" fmla="*/ 986 h 6164592"/>
              <a:gd name="connsiteX0" fmla="*/ 2345192 w 2860168"/>
              <a:gd name="connsiteY0" fmla="*/ 986 h 6164592"/>
              <a:gd name="connsiteX1" fmla="*/ 2508845 w 2860168"/>
              <a:gd name="connsiteY1" fmla="*/ 10328 h 6164592"/>
              <a:gd name="connsiteX2" fmla="*/ 2663147 w 2860168"/>
              <a:gd name="connsiteY2" fmla="*/ 36020 h 6164592"/>
              <a:gd name="connsiteX3" fmla="*/ 2829139 w 2860168"/>
              <a:gd name="connsiteY3" fmla="*/ 211188 h 6164592"/>
              <a:gd name="connsiteX4" fmla="*/ 2849875 w 2860168"/>
              <a:gd name="connsiteY4" fmla="*/ 554819 h 6164592"/>
              <a:gd name="connsiteX5" fmla="*/ 2851299 w 2860168"/>
              <a:gd name="connsiteY5" fmla="*/ 812870 h 6164592"/>
              <a:gd name="connsiteX6" fmla="*/ 2853943 w 2860168"/>
              <a:gd name="connsiteY6" fmla="*/ 1184828 h 6164592"/>
              <a:gd name="connsiteX7" fmla="*/ 2850180 w 2860168"/>
              <a:gd name="connsiteY7" fmla="*/ 1395330 h 6164592"/>
              <a:gd name="connsiteX8" fmla="*/ 2850180 w 2860168"/>
              <a:gd name="connsiteY8" fmla="*/ 5741852 h 6164592"/>
              <a:gd name="connsiteX9" fmla="*/ 2826801 w 2860168"/>
              <a:gd name="connsiteY9" fmla="*/ 5963732 h 6164592"/>
              <a:gd name="connsiteX10" fmla="*/ 2766015 w 2860168"/>
              <a:gd name="connsiteY10" fmla="*/ 6054820 h 6164592"/>
              <a:gd name="connsiteX11" fmla="*/ 2429356 w 2860168"/>
              <a:gd name="connsiteY11" fmla="*/ 6164592 h 6164592"/>
              <a:gd name="connsiteX12" fmla="*/ 362647 w 2860168"/>
              <a:gd name="connsiteY12" fmla="*/ 6162257 h 6164592"/>
              <a:gd name="connsiteX13" fmla="*/ 103139 w 2860168"/>
              <a:gd name="connsiteY13" fmla="*/ 6078176 h 6164592"/>
              <a:gd name="connsiteX14" fmla="*/ 7285 w 2860168"/>
              <a:gd name="connsiteY14" fmla="*/ 5828268 h 6164592"/>
              <a:gd name="connsiteX15" fmla="*/ 7285 w 2860168"/>
              <a:gd name="connsiteY15" fmla="*/ 3915425 h 6164592"/>
              <a:gd name="connsiteX16" fmla="*/ 7285 w 2860168"/>
              <a:gd name="connsiteY16" fmla="*/ 3214749 h 6164592"/>
              <a:gd name="connsiteX17" fmla="*/ 4947 w 2860168"/>
              <a:gd name="connsiteY17" fmla="*/ 687648 h 6164592"/>
              <a:gd name="connsiteX18" fmla="*/ 2609 w 2860168"/>
              <a:gd name="connsiteY18" fmla="*/ 398035 h 6164592"/>
              <a:gd name="connsiteX19" fmla="*/ 47029 w 2860168"/>
              <a:gd name="connsiteY19" fmla="*/ 152799 h 6164592"/>
              <a:gd name="connsiteX20" fmla="*/ 234062 w 2860168"/>
              <a:gd name="connsiteY20" fmla="*/ 22006 h 6164592"/>
              <a:gd name="connsiteX21" fmla="*/ 545003 w 2860168"/>
              <a:gd name="connsiteY21" fmla="*/ 7993 h 6164592"/>
              <a:gd name="connsiteX22" fmla="*/ 615141 w 2860168"/>
              <a:gd name="connsiteY22" fmla="*/ 85067 h 6164592"/>
              <a:gd name="connsiteX23" fmla="*/ 790484 w 2860168"/>
              <a:gd name="connsiteY23" fmla="*/ 250893 h 6164592"/>
              <a:gd name="connsiteX24" fmla="*/ 2022561 w 2860168"/>
              <a:gd name="connsiteY24" fmla="*/ 250893 h 6164592"/>
              <a:gd name="connsiteX25" fmla="*/ 2195566 w 2860168"/>
              <a:gd name="connsiteY25" fmla="*/ 178490 h 6164592"/>
              <a:gd name="connsiteX26" fmla="*/ 2230634 w 2860168"/>
              <a:gd name="connsiteY26" fmla="*/ 92074 h 6164592"/>
              <a:gd name="connsiteX27" fmla="*/ 2345192 w 2860168"/>
              <a:gd name="connsiteY27" fmla="*/ 986 h 6164592"/>
              <a:gd name="connsiteX0" fmla="*/ 2345192 w 2854520"/>
              <a:gd name="connsiteY0" fmla="*/ 986 h 6164592"/>
              <a:gd name="connsiteX1" fmla="*/ 2508845 w 2854520"/>
              <a:gd name="connsiteY1" fmla="*/ 10328 h 6164592"/>
              <a:gd name="connsiteX2" fmla="*/ 2663147 w 2854520"/>
              <a:gd name="connsiteY2" fmla="*/ 36020 h 6164592"/>
              <a:gd name="connsiteX3" fmla="*/ 2829139 w 2854520"/>
              <a:gd name="connsiteY3" fmla="*/ 211188 h 6164592"/>
              <a:gd name="connsiteX4" fmla="*/ 2849875 w 2854520"/>
              <a:gd name="connsiteY4" fmla="*/ 554819 h 6164592"/>
              <a:gd name="connsiteX5" fmla="*/ 2851299 w 2854520"/>
              <a:gd name="connsiteY5" fmla="*/ 812870 h 6164592"/>
              <a:gd name="connsiteX6" fmla="*/ 2853943 w 2854520"/>
              <a:gd name="connsiteY6" fmla="*/ 1184828 h 6164592"/>
              <a:gd name="connsiteX7" fmla="*/ 2850180 w 2854520"/>
              <a:gd name="connsiteY7" fmla="*/ 1395330 h 6164592"/>
              <a:gd name="connsiteX8" fmla="*/ 2850180 w 2854520"/>
              <a:gd name="connsiteY8" fmla="*/ 5741852 h 6164592"/>
              <a:gd name="connsiteX9" fmla="*/ 2826801 w 2854520"/>
              <a:gd name="connsiteY9" fmla="*/ 5963732 h 6164592"/>
              <a:gd name="connsiteX10" fmla="*/ 2766015 w 2854520"/>
              <a:gd name="connsiteY10" fmla="*/ 6054820 h 6164592"/>
              <a:gd name="connsiteX11" fmla="*/ 2429356 w 2854520"/>
              <a:gd name="connsiteY11" fmla="*/ 6164592 h 6164592"/>
              <a:gd name="connsiteX12" fmla="*/ 362647 w 2854520"/>
              <a:gd name="connsiteY12" fmla="*/ 6162257 h 6164592"/>
              <a:gd name="connsiteX13" fmla="*/ 103139 w 2854520"/>
              <a:gd name="connsiteY13" fmla="*/ 6078176 h 6164592"/>
              <a:gd name="connsiteX14" fmla="*/ 7285 w 2854520"/>
              <a:gd name="connsiteY14" fmla="*/ 5828268 h 6164592"/>
              <a:gd name="connsiteX15" fmla="*/ 7285 w 2854520"/>
              <a:gd name="connsiteY15" fmla="*/ 3915425 h 6164592"/>
              <a:gd name="connsiteX16" fmla="*/ 7285 w 2854520"/>
              <a:gd name="connsiteY16" fmla="*/ 3214749 h 6164592"/>
              <a:gd name="connsiteX17" fmla="*/ 4947 w 2854520"/>
              <a:gd name="connsiteY17" fmla="*/ 687648 h 6164592"/>
              <a:gd name="connsiteX18" fmla="*/ 2609 w 2854520"/>
              <a:gd name="connsiteY18" fmla="*/ 398035 h 6164592"/>
              <a:gd name="connsiteX19" fmla="*/ 47029 w 2854520"/>
              <a:gd name="connsiteY19" fmla="*/ 152799 h 6164592"/>
              <a:gd name="connsiteX20" fmla="*/ 234062 w 2854520"/>
              <a:gd name="connsiteY20" fmla="*/ 22006 h 6164592"/>
              <a:gd name="connsiteX21" fmla="*/ 545003 w 2854520"/>
              <a:gd name="connsiteY21" fmla="*/ 7993 h 6164592"/>
              <a:gd name="connsiteX22" fmla="*/ 615141 w 2854520"/>
              <a:gd name="connsiteY22" fmla="*/ 85067 h 6164592"/>
              <a:gd name="connsiteX23" fmla="*/ 790484 w 2854520"/>
              <a:gd name="connsiteY23" fmla="*/ 250893 h 6164592"/>
              <a:gd name="connsiteX24" fmla="*/ 2022561 w 2854520"/>
              <a:gd name="connsiteY24" fmla="*/ 250893 h 6164592"/>
              <a:gd name="connsiteX25" fmla="*/ 2195566 w 2854520"/>
              <a:gd name="connsiteY25" fmla="*/ 178490 h 6164592"/>
              <a:gd name="connsiteX26" fmla="*/ 2230634 w 2854520"/>
              <a:gd name="connsiteY26" fmla="*/ 92074 h 6164592"/>
              <a:gd name="connsiteX27" fmla="*/ 2345192 w 2854520"/>
              <a:gd name="connsiteY27" fmla="*/ 986 h 6164592"/>
              <a:gd name="connsiteX0" fmla="*/ 2345192 w 2854520"/>
              <a:gd name="connsiteY0" fmla="*/ 986 h 6164592"/>
              <a:gd name="connsiteX1" fmla="*/ 2508845 w 2854520"/>
              <a:gd name="connsiteY1" fmla="*/ 10328 h 6164592"/>
              <a:gd name="connsiteX2" fmla="*/ 2663147 w 2854520"/>
              <a:gd name="connsiteY2" fmla="*/ 36020 h 6164592"/>
              <a:gd name="connsiteX3" fmla="*/ 2829139 w 2854520"/>
              <a:gd name="connsiteY3" fmla="*/ 211188 h 6164592"/>
              <a:gd name="connsiteX4" fmla="*/ 2849875 w 2854520"/>
              <a:gd name="connsiteY4" fmla="*/ 554819 h 6164592"/>
              <a:gd name="connsiteX5" fmla="*/ 2851299 w 2854520"/>
              <a:gd name="connsiteY5" fmla="*/ 812870 h 6164592"/>
              <a:gd name="connsiteX6" fmla="*/ 2853943 w 2854520"/>
              <a:gd name="connsiteY6" fmla="*/ 1184828 h 6164592"/>
              <a:gd name="connsiteX7" fmla="*/ 2850180 w 2854520"/>
              <a:gd name="connsiteY7" fmla="*/ 1395330 h 6164592"/>
              <a:gd name="connsiteX8" fmla="*/ 2850180 w 2854520"/>
              <a:gd name="connsiteY8" fmla="*/ 5741852 h 6164592"/>
              <a:gd name="connsiteX9" fmla="*/ 2826801 w 2854520"/>
              <a:gd name="connsiteY9" fmla="*/ 5963732 h 6164592"/>
              <a:gd name="connsiteX10" fmla="*/ 2766015 w 2854520"/>
              <a:gd name="connsiteY10" fmla="*/ 6054820 h 6164592"/>
              <a:gd name="connsiteX11" fmla="*/ 2429356 w 2854520"/>
              <a:gd name="connsiteY11" fmla="*/ 6164592 h 6164592"/>
              <a:gd name="connsiteX12" fmla="*/ 362647 w 2854520"/>
              <a:gd name="connsiteY12" fmla="*/ 6162257 h 6164592"/>
              <a:gd name="connsiteX13" fmla="*/ 103139 w 2854520"/>
              <a:gd name="connsiteY13" fmla="*/ 6078176 h 6164592"/>
              <a:gd name="connsiteX14" fmla="*/ 7285 w 2854520"/>
              <a:gd name="connsiteY14" fmla="*/ 5828268 h 6164592"/>
              <a:gd name="connsiteX15" fmla="*/ 7285 w 2854520"/>
              <a:gd name="connsiteY15" fmla="*/ 3915425 h 6164592"/>
              <a:gd name="connsiteX16" fmla="*/ 7285 w 2854520"/>
              <a:gd name="connsiteY16" fmla="*/ 3214749 h 6164592"/>
              <a:gd name="connsiteX17" fmla="*/ 4947 w 2854520"/>
              <a:gd name="connsiteY17" fmla="*/ 687648 h 6164592"/>
              <a:gd name="connsiteX18" fmla="*/ 2609 w 2854520"/>
              <a:gd name="connsiteY18" fmla="*/ 398035 h 6164592"/>
              <a:gd name="connsiteX19" fmla="*/ 47029 w 2854520"/>
              <a:gd name="connsiteY19" fmla="*/ 152799 h 6164592"/>
              <a:gd name="connsiteX20" fmla="*/ 234062 w 2854520"/>
              <a:gd name="connsiteY20" fmla="*/ 22006 h 6164592"/>
              <a:gd name="connsiteX21" fmla="*/ 545003 w 2854520"/>
              <a:gd name="connsiteY21" fmla="*/ 7993 h 6164592"/>
              <a:gd name="connsiteX22" fmla="*/ 615141 w 2854520"/>
              <a:gd name="connsiteY22" fmla="*/ 85067 h 6164592"/>
              <a:gd name="connsiteX23" fmla="*/ 790484 w 2854520"/>
              <a:gd name="connsiteY23" fmla="*/ 250893 h 6164592"/>
              <a:gd name="connsiteX24" fmla="*/ 2022561 w 2854520"/>
              <a:gd name="connsiteY24" fmla="*/ 250893 h 6164592"/>
              <a:gd name="connsiteX25" fmla="*/ 2195566 w 2854520"/>
              <a:gd name="connsiteY25" fmla="*/ 178490 h 6164592"/>
              <a:gd name="connsiteX26" fmla="*/ 2230634 w 2854520"/>
              <a:gd name="connsiteY26" fmla="*/ 92074 h 6164592"/>
              <a:gd name="connsiteX27" fmla="*/ 2345192 w 2854520"/>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52799 h 6164592"/>
              <a:gd name="connsiteX20" fmla="*/ 234062 w 2860975"/>
              <a:gd name="connsiteY20" fmla="*/ 22006 h 6164592"/>
              <a:gd name="connsiteX21" fmla="*/ 545003 w 2860975"/>
              <a:gd name="connsiteY21" fmla="*/ 7993 h 6164592"/>
              <a:gd name="connsiteX22" fmla="*/ 615141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52799 h 6164592"/>
              <a:gd name="connsiteX20" fmla="*/ 234062 w 2860975"/>
              <a:gd name="connsiteY20" fmla="*/ 22006 h 6164592"/>
              <a:gd name="connsiteX21" fmla="*/ 545003 w 2860975"/>
              <a:gd name="connsiteY21" fmla="*/ 7993 h 6164592"/>
              <a:gd name="connsiteX22" fmla="*/ 615141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52799 h 6164592"/>
              <a:gd name="connsiteX20" fmla="*/ 234062 w 2860975"/>
              <a:gd name="connsiteY20" fmla="*/ 22006 h 6164592"/>
              <a:gd name="connsiteX21" fmla="*/ 545003 w 2860975"/>
              <a:gd name="connsiteY21" fmla="*/ 7993 h 6164592"/>
              <a:gd name="connsiteX22" fmla="*/ 641370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52799 h 6164592"/>
              <a:gd name="connsiteX20" fmla="*/ 234062 w 2860975"/>
              <a:gd name="connsiteY20" fmla="*/ 39492 h 6164592"/>
              <a:gd name="connsiteX21" fmla="*/ 545003 w 2860975"/>
              <a:gd name="connsiteY21" fmla="*/ 7993 h 6164592"/>
              <a:gd name="connsiteX22" fmla="*/ 641370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79028 h 6164592"/>
              <a:gd name="connsiteX20" fmla="*/ 234062 w 2860975"/>
              <a:gd name="connsiteY20" fmla="*/ 39492 h 6164592"/>
              <a:gd name="connsiteX21" fmla="*/ 545003 w 2860975"/>
              <a:gd name="connsiteY21" fmla="*/ 7993 h 6164592"/>
              <a:gd name="connsiteX22" fmla="*/ 641370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79028 h 6164592"/>
              <a:gd name="connsiteX20" fmla="*/ 234062 w 2860975"/>
              <a:gd name="connsiteY20" fmla="*/ 39492 h 6164592"/>
              <a:gd name="connsiteX21" fmla="*/ 545003 w 2860975"/>
              <a:gd name="connsiteY21" fmla="*/ 21107 h 6164592"/>
              <a:gd name="connsiteX22" fmla="*/ 641370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790484 w 2860975"/>
              <a:gd name="connsiteY23" fmla="*/ 242419 h 6156118"/>
              <a:gd name="connsiteX24" fmla="*/ 2022561 w 2860975"/>
              <a:gd name="connsiteY24" fmla="*/ 242419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790484 w 2860975"/>
              <a:gd name="connsiteY23" fmla="*/ 242419 h 6156118"/>
              <a:gd name="connsiteX24" fmla="*/ 2022561 w 2860975"/>
              <a:gd name="connsiteY24" fmla="*/ 242419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790484 w 2860975"/>
              <a:gd name="connsiteY23" fmla="*/ 242419 h 6156118"/>
              <a:gd name="connsiteX24" fmla="*/ 2022561 w 2860975"/>
              <a:gd name="connsiteY24" fmla="*/ 242419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790484 w 2860975"/>
              <a:gd name="connsiteY23" fmla="*/ 242419 h 6156118"/>
              <a:gd name="connsiteX24" fmla="*/ 2022561 w 2860975"/>
              <a:gd name="connsiteY24" fmla="*/ 242419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2561 w 2860975"/>
              <a:gd name="connsiteY24" fmla="*/ 242419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60776 w 2860975"/>
              <a:gd name="connsiteY25" fmla="*/ 163057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60776 w 2860975"/>
              <a:gd name="connsiteY25" fmla="*/ 163057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60776 w 2860975"/>
              <a:gd name="connsiteY25" fmla="*/ 163057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60776 w 2860975"/>
              <a:gd name="connsiteY25" fmla="*/ 163057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60776 w 2860975"/>
              <a:gd name="connsiteY25" fmla="*/ 163057 h 6156118"/>
              <a:gd name="connsiteX26" fmla="*/ 2205413 w 2860975"/>
              <a:gd name="connsiteY26" fmla="*/ 89905 h 6156118"/>
              <a:gd name="connsiteX27" fmla="*/ 2340821 w 2860975"/>
              <a:gd name="connsiteY27" fmla="*/ 5626 h 6156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860975" h="6156118">
                <a:moveTo>
                  <a:pt x="2340821" y="5626"/>
                </a:moveTo>
                <a:cubicBezTo>
                  <a:pt x="2394593" y="10297"/>
                  <a:pt x="2455073" y="-5153"/>
                  <a:pt x="2508845" y="1854"/>
                </a:cubicBezTo>
                <a:cubicBezTo>
                  <a:pt x="2560279" y="6525"/>
                  <a:pt x="2614051" y="11197"/>
                  <a:pt x="2663147" y="27546"/>
                </a:cubicBezTo>
                <a:cubicBezTo>
                  <a:pt x="2749650" y="55573"/>
                  <a:pt x="2805759" y="116298"/>
                  <a:pt x="2829139" y="202714"/>
                </a:cubicBezTo>
                <a:cubicBezTo>
                  <a:pt x="2861869" y="317158"/>
                  <a:pt x="2864207" y="422859"/>
                  <a:pt x="2858618" y="541973"/>
                </a:cubicBezTo>
                <a:cubicBezTo>
                  <a:pt x="2851299" y="627790"/>
                  <a:pt x="2852078" y="698666"/>
                  <a:pt x="2851299" y="804396"/>
                </a:cubicBezTo>
                <a:cubicBezTo>
                  <a:pt x="2850520" y="910126"/>
                  <a:pt x="2851605" y="1050232"/>
                  <a:pt x="2853943" y="1176354"/>
                </a:cubicBezTo>
                <a:cubicBezTo>
                  <a:pt x="2856281" y="1248757"/>
                  <a:pt x="2850807" y="627352"/>
                  <a:pt x="2850180" y="1386856"/>
                </a:cubicBezTo>
                <a:cubicBezTo>
                  <a:pt x="2849553" y="2146360"/>
                  <a:pt x="2850180" y="4284537"/>
                  <a:pt x="2850180" y="5733378"/>
                </a:cubicBezTo>
                <a:cubicBezTo>
                  <a:pt x="2850180" y="5808116"/>
                  <a:pt x="2840828" y="5882855"/>
                  <a:pt x="2826801" y="5955258"/>
                </a:cubicBezTo>
                <a:cubicBezTo>
                  <a:pt x="2819787" y="5987956"/>
                  <a:pt x="2791732" y="6020654"/>
                  <a:pt x="2766015" y="6046346"/>
                </a:cubicBezTo>
                <a:cubicBezTo>
                  <a:pt x="2674837" y="6142105"/>
                  <a:pt x="2555603" y="6156118"/>
                  <a:pt x="2429356" y="6156118"/>
                </a:cubicBezTo>
                <a:lnTo>
                  <a:pt x="362647" y="6153783"/>
                </a:lnTo>
                <a:cubicBezTo>
                  <a:pt x="269130" y="6153783"/>
                  <a:pt x="177952" y="6139769"/>
                  <a:pt x="103139" y="6069702"/>
                </a:cubicBezTo>
                <a:cubicBezTo>
                  <a:pt x="33002" y="6001970"/>
                  <a:pt x="7285" y="5913218"/>
                  <a:pt x="7285" y="5819794"/>
                </a:cubicBezTo>
                <a:cubicBezTo>
                  <a:pt x="4947" y="5182180"/>
                  <a:pt x="7285" y="4544565"/>
                  <a:pt x="7285" y="3906951"/>
                </a:cubicBezTo>
                <a:lnTo>
                  <a:pt x="7285" y="3206275"/>
                </a:lnTo>
                <a:cubicBezTo>
                  <a:pt x="7285" y="2363130"/>
                  <a:pt x="7285" y="1522319"/>
                  <a:pt x="4947" y="679174"/>
                </a:cubicBezTo>
                <a:cubicBezTo>
                  <a:pt x="4947" y="583415"/>
                  <a:pt x="-4405" y="485320"/>
                  <a:pt x="2609" y="389561"/>
                </a:cubicBezTo>
                <a:cubicBezTo>
                  <a:pt x="7285" y="307816"/>
                  <a:pt x="23650" y="249964"/>
                  <a:pt x="47029" y="170554"/>
                </a:cubicBezTo>
                <a:cubicBezTo>
                  <a:pt x="75084" y="84137"/>
                  <a:pt x="151066" y="57338"/>
                  <a:pt x="234062" y="31018"/>
                </a:cubicBezTo>
                <a:cubicBezTo>
                  <a:pt x="317058" y="4698"/>
                  <a:pt x="477118" y="5037"/>
                  <a:pt x="545003" y="12633"/>
                </a:cubicBezTo>
                <a:cubicBezTo>
                  <a:pt x="612888" y="20229"/>
                  <a:pt x="636694" y="29881"/>
                  <a:pt x="641370" y="76593"/>
                </a:cubicBezTo>
                <a:cubicBezTo>
                  <a:pt x="687972" y="205752"/>
                  <a:pt x="791992" y="193111"/>
                  <a:pt x="853104" y="193715"/>
                </a:cubicBezTo>
                <a:lnTo>
                  <a:pt x="2029518" y="193715"/>
                </a:lnTo>
                <a:cubicBezTo>
                  <a:pt x="2064606" y="188605"/>
                  <a:pt x="2108420" y="181980"/>
                  <a:pt x="2160776" y="163057"/>
                </a:cubicBezTo>
                <a:cubicBezTo>
                  <a:pt x="2179479" y="137366"/>
                  <a:pt x="2200737" y="120267"/>
                  <a:pt x="2205413" y="89905"/>
                </a:cubicBezTo>
                <a:cubicBezTo>
                  <a:pt x="2217103" y="22173"/>
                  <a:pt x="2251164" y="11733"/>
                  <a:pt x="2340821" y="5626"/>
                </a:cubicBezTo>
                <a:close/>
              </a:path>
            </a:pathLst>
          </a:custGeom>
          <a:blipFill>
            <a:blip r:embed="rId5"/>
            <a:stretch>
              <a:fillRect l="-121001" r="-138446" b="-5101"/>
            </a:stretch>
          </a:blipFill>
        </p:spPr>
        <p:txBody>
          <a:bodyPr wrap="square" anchor="ctr" anchorCtr="1">
            <a:noAutofit/>
          </a:bodyPr>
          <a:lstStyle>
            <a:lvl1pPr marL="0" indent="0">
              <a:buNone/>
              <a:defRPr/>
            </a:lvl1pPr>
          </a:lstStyle>
          <a:p>
            <a:endParaRPr lang="en-US"/>
          </a:p>
        </p:txBody>
      </p:sp>
      <p:sp>
        <p:nvSpPr>
          <p:cNvPr id="60" name="Picture Placeholder 3">
            <a:extLst>
              <a:ext uri="{FF2B5EF4-FFF2-40B4-BE49-F238E27FC236}">
                <a16:creationId xmlns:a16="http://schemas.microsoft.com/office/drawing/2014/main" id="{3088E1CA-04A9-F449-885C-D9FD2D6EBDDA}"/>
              </a:ext>
            </a:extLst>
          </p:cNvPr>
          <p:cNvSpPr>
            <a:spLocks noGrp="1" noChangeAspect="1"/>
          </p:cNvSpPr>
          <p:nvPr>
            <p:ph type="pic" sz="quarter" idx="12"/>
          </p:nvPr>
        </p:nvSpPr>
        <p:spPr>
          <a:xfrm>
            <a:off x="8393206" y="915727"/>
            <a:ext cx="1440599" cy="3099816"/>
          </a:xfrm>
          <a:custGeom>
            <a:avLst/>
            <a:gdLst>
              <a:gd name="connsiteX0" fmla="*/ 2345192 w 2857253"/>
              <a:gd name="connsiteY0" fmla="*/ 986 h 6164592"/>
              <a:gd name="connsiteX1" fmla="*/ 2508845 w 2857253"/>
              <a:gd name="connsiteY1" fmla="*/ 10328 h 6164592"/>
              <a:gd name="connsiteX2" fmla="*/ 2663147 w 2857253"/>
              <a:gd name="connsiteY2" fmla="*/ 36020 h 6164592"/>
              <a:gd name="connsiteX3" fmla="*/ 2829139 w 2857253"/>
              <a:gd name="connsiteY3" fmla="*/ 211188 h 6164592"/>
              <a:gd name="connsiteX4" fmla="*/ 2845504 w 2857253"/>
              <a:gd name="connsiteY4" fmla="*/ 559190 h 6164592"/>
              <a:gd name="connsiteX5" fmla="*/ 2833814 w 2857253"/>
              <a:gd name="connsiteY5" fmla="*/ 799756 h 6164592"/>
              <a:gd name="connsiteX6" fmla="*/ 2840828 w 2857253"/>
              <a:gd name="connsiteY6" fmla="*/ 1180456 h 6164592"/>
              <a:gd name="connsiteX7" fmla="*/ 2850180 w 2857253"/>
              <a:gd name="connsiteY7" fmla="*/ 1395330 h 6164592"/>
              <a:gd name="connsiteX8" fmla="*/ 2850180 w 2857253"/>
              <a:gd name="connsiteY8" fmla="*/ 5741852 h 6164592"/>
              <a:gd name="connsiteX9" fmla="*/ 2826801 w 2857253"/>
              <a:gd name="connsiteY9" fmla="*/ 5963732 h 6164592"/>
              <a:gd name="connsiteX10" fmla="*/ 2766015 w 2857253"/>
              <a:gd name="connsiteY10" fmla="*/ 6054820 h 6164592"/>
              <a:gd name="connsiteX11" fmla="*/ 2429356 w 2857253"/>
              <a:gd name="connsiteY11" fmla="*/ 6164592 h 6164592"/>
              <a:gd name="connsiteX12" fmla="*/ 362647 w 2857253"/>
              <a:gd name="connsiteY12" fmla="*/ 6162257 h 6164592"/>
              <a:gd name="connsiteX13" fmla="*/ 103139 w 2857253"/>
              <a:gd name="connsiteY13" fmla="*/ 6078176 h 6164592"/>
              <a:gd name="connsiteX14" fmla="*/ 7285 w 2857253"/>
              <a:gd name="connsiteY14" fmla="*/ 5828268 h 6164592"/>
              <a:gd name="connsiteX15" fmla="*/ 7285 w 2857253"/>
              <a:gd name="connsiteY15" fmla="*/ 3915425 h 6164592"/>
              <a:gd name="connsiteX16" fmla="*/ 7285 w 2857253"/>
              <a:gd name="connsiteY16" fmla="*/ 3214749 h 6164592"/>
              <a:gd name="connsiteX17" fmla="*/ 4947 w 2857253"/>
              <a:gd name="connsiteY17" fmla="*/ 687648 h 6164592"/>
              <a:gd name="connsiteX18" fmla="*/ 2609 w 2857253"/>
              <a:gd name="connsiteY18" fmla="*/ 398035 h 6164592"/>
              <a:gd name="connsiteX19" fmla="*/ 47029 w 2857253"/>
              <a:gd name="connsiteY19" fmla="*/ 152799 h 6164592"/>
              <a:gd name="connsiteX20" fmla="*/ 234062 w 2857253"/>
              <a:gd name="connsiteY20" fmla="*/ 22006 h 6164592"/>
              <a:gd name="connsiteX21" fmla="*/ 545003 w 2857253"/>
              <a:gd name="connsiteY21" fmla="*/ 7993 h 6164592"/>
              <a:gd name="connsiteX22" fmla="*/ 615141 w 2857253"/>
              <a:gd name="connsiteY22" fmla="*/ 85067 h 6164592"/>
              <a:gd name="connsiteX23" fmla="*/ 790484 w 2857253"/>
              <a:gd name="connsiteY23" fmla="*/ 250893 h 6164592"/>
              <a:gd name="connsiteX24" fmla="*/ 2022561 w 2857253"/>
              <a:gd name="connsiteY24" fmla="*/ 250893 h 6164592"/>
              <a:gd name="connsiteX25" fmla="*/ 2195566 w 2857253"/>
              <a:gd name="connsiteY25" fmla="*/ 178490 h 6164592"/>
              <a:gd name="connsiteX26" fmla="*/ 2230634 w 2857253"/>
              <a:gd name="connsiteY26" fmla="*/ 92074 h 6164592"/>
              <a:gd name="connsiteX27" fmla="*/ 2345192 w 2857253"/>
              <a:gd name="connsiteY27" fmla="*/ 986 h 6164592"/>
              <a:gd name="connsiteX0" fmla="*/ 2345192 w 2857253"/>
              <a:gd name="connsiteY0" fmla="*/ 986 h 6164592"/>
              <a:gd name="connsiteX1" fmla="*/ 2508845 w 2857253"/>
              <a:gd name="connsiteY1" fmla="*/ 10328 h 6164592"/>
              <a:gd name="connsiteX2" fmla="*/ 2663147 w 2857253"/>
              <a:gd name="connsiteY2" fmla="*/ 36020 h 6164592"/>
              <a:gd name="connsiteX3" fmla="*/ 2829139 w 2857253"/>
              <a:gd name="connsiteY3" fmla="*/ 211188 h 6164592"/>
              <a:gd name="connsiteX4" fmla="*/ 2845504 w 2857253"/>
              <a:gd name="connsiteY4" fmla="*/ 554819 h 6164592"/>
              <a:gd name="connsiteX5" fmla="*/ 2833814 w 2857253"/>
              <a:gd name="connsiteY5" fmla="*/ 799756 h 6164592"/>
              <a:gd name="connsiteX6" fmla="*/ 2840828 w 2857253"/>
              <a:gd name="connsiteY6" fmla="*/ 1180456 h 6164592"/>
              <a:gd name="connsiteX7" fmla="*/ 2850180 w 2857253"/>
              <a:gd name="connsiteY7" fmla="*/ 1395330 h 6164592"/>
              <a:gd name="connsiteX8" fmla="*/ 2850180 w 2857253"/>
              <a:gd name="connsiteY8" fmla="*/ 5741852 h 6164592"/>
              <a:gd name="connsiteX9" fmla="*/ 2826801 w 2857253"/>
              <a:gd name="connsiteY9" fmla="*/ 5963732 h 6164592"/>
              <a:gd name="connsiteX10" fmla="*/ 2766015 w 2857253"/>
              <a:gd name="connsiteY10" fmla="*/ 6054820 h 6164592"/>
              <a:gd name="connsiteX11" fmla="*/ 2429356 w 2857253"/>
              <a:gd name="connsiteY11" fmla="*/ 6164592 h 6164592"/>
              <a:gd name="connsiteX12" fmla="*/ 362647 w 2857253"/>
              <a:gd name="connsiteY12" fmla="*/ 6162257 h 6164592"/>
              <a:gd name="connsiteX13" fmla="*/ 103139 w 2857253"/>
              <a:gd name="connsiteY13" fmla="*/ 6078176 h 6164592"/>
              <a:gd name="connsiteX14" fmla="*/ 7285 w 2857253"/>
              <a:gd name="connsiteY14" fmla="*/ 5828268 h 6164592"/>
              <a:gd name="connsiteX15" fmla="*/ 7285 w 2857253"/>
              <a:gd name="connsiteY15" fmla="*/ 3915425 h 6164592"/>
              <a:gd name="connsiteX16" fmla="*/ 7285 w 2857253"/>
              <a:gd name="connsiteY16" fmla="*/ 3214749 h 6164592"/>
              <a:gd name="connsiteX17" fmla="*/ 4947 w 2857253"/>
              <a:gd name="connsiteY17" fmla="*/ 687648 h 6164592"/>
              <a:gd name="connsiteX18" fmla="*/ 2609 w 2857253"/>
              <a:gd name="connsiteY18" fmla="*/ 398035 h 6164592"/>
              <a:gd name="connsiteX19" fmla="*/ 47029 w 2857253"/>
              <a:gd name="connsiteY19" fmla="*/ 152799 h 6164592"/>
              <a:gd name="connsiteX20" fmla="*/ 234062 w 2857253"/>
              <a:gd name="connsiteY20" fmla="*/ 22006 h 6164592"/>
              <a:gd name="connsiteX21" fmla="*/ 545003 w 2857253"/>
              <a:gd name="connsiteY21" fmla="*/ 7993 h 6164592"/>
              <a:gd name="connsiteX22" fmla="*/ 615141 w 2857253"/>
              <a:gd name="connsiteY22" fmla="*/ 85067 h 6164592"/>
              <a:gd name="connsiteX23" fmla="*/ 790484 w 2857253"/>
              <a:gd name="connsiteY23" fmla="*/ 250893 h 6164592"/>
              <a:gd name="connsiteX24" fmla="*/ 2022561 w 2857253"/>
              <a:gd name="connsiteY24" fmla="*/ 250893 h 6164592"/>
              <a:gd name="connsiteX25" fmla="*/ 2195566 w 2857253"/>
              <a:gd name="connsiteY25" fmla="*/ 178490 h 6164592"/>
              <a:gd name="connsiteX26" fmla="*/ 2230634 w 2857253"/>
              <a:gd name="connsiteY26" fmla="*/ 92074 h 6164592"/>
              <a:gd name="connsiteX27" fmla="*/ 2345192 w 2857253"/>
              <a:gd name="connsiteY27" fmla="*/ 986 h 6164592"/>
              <a:gd name="connsiteX0" fmla="*/ 2345192 w 2857253"/>
              <a:gd name="connsiteY0" fmla="*/ 986 h 6164592"/>
              <a:gd name="connsiteX1" fmla="*/ 2508845 w 2857253"/>
              <a:gd name="connsiteY1" fmla="*/ 10328 h 6164592"/>
              <a:gd name="connsiteX2" fmla="*/ 2663147 w 2857253"/>
              <a:gd name="connsiteY2" fmla="*/ 36020 h 6164592"/>
              <a:gd name="connsiteX3" fmla="*/ 2829139 w 2857253"/>
              <a:gd name="connsiteY3" fmla="*/ 211188 h 6164592"/>
              <a:gd name="connsiteX4" fmla="*/ 2845504 w 2857253"/>
              <a:gd name="connsiteY4" fmla="*/ 554819 h 6164592"/>
              <a:gd name="connsiteX5" fmla="*/ 2851299 w 2857253"/>
              <a:gd name="connsiteY5" fmla="*/ 812870 h 6164592"/>
              <a:gd name="connsiteX6" fmla="*/ 2840828 w 2857253"/>
              <a:gd name="connsiteY6" fmla="*/ 1180456 h 6164592"/>
              <a:gd name="connsiteX7" fmla="*/ 2850180 w 2857253"/>
              <a:gd name="connsiteY7" fmla="*/ 1395330 h 6164592"/>
              <a:gd name="connsiteX8" fmla="*/ 2850180 w 2857253"/>
              <a:gd name="connsiteY8" fmla="*/ 5741852 h 6164592"/>
              <a:gd name="connsiteX9" fmla="*/ 2826801 w 2857253"/>
              <a:gd name="connsiteY9" fmla="*/ 5963732 h 6164592"/>
              <a:gd name="connsiteX10" fmla="*/ 2766015 w 2857253"/>
              <a:gd name="connsiteY10" fmla="*/ 6054820 h 6164592"/>
              <a:gd name="connsiteX11" fmla="*/ 2429356 w 2857253"/>
              <a:gd name="connsiteY11" fmla="*/ 6164592 h 6164592"/>
              <a:gd name="connsiteX12" fmla="*/ 362647 w 2857253"/>
              <a:gd name="connsiteY12" fmla="*/ 6162257 h 6164592"/>
              <a:gd name="connsiteX13" fmla="*/ 103139 w 2857253"/>
              <a:gd name="connsiteY13" fmla="*/ 6078176 h 6164592"/>
              <a:gd name="connsiteX14" fmla="*/ 7285 w 2857253"/>
              <a:gd name="connsiteY14" fmla="*/ 5828268 h 6164592"/>
              <a:gd name="connsiteX15" fmla="*/ 7285 w 2857253"/>
              <a:gd name="connsiteY15" fmla="*/ 3915425 h 6164592"/>
              <a:gd name="connsiteX16" fmla="*/ 7285 w 2857253"/>
              <a:gd name="connsiteY16" fmla="*/ 3214749 h 6164592"/>
              <a:gd name="connsiteX17" fmla="*/ 4947 w 2857253"/>
              <a:gd name="connsiteY17" fmla="*/ 687648 h 6164592"/>
              <a:gd name="connsiteX18" fmla="*/ 2609 w 2857253"/>
              <a:gd name="connsiteY18" fmla="*/ 398035 h 6164592"/>
              <a:gd name="connsiteX19" fmla="*/ 47029 w 2857253"/>
              <a:gd name="connsiteY19" fmla="*/ 152799 h 6164592"/>
              <a:gd name="connsiteX20" fmla="*/ 234062 w 2857253"/>
              <a:gd name="connsiteY20" fmla="*/ 22006 h 6164592"/>
              <a:gd name="connsiteX21" fmla="*/ 545003 w 2857253"/>
              <a:gd name="connsiteY21" fmla="*/ 7993 h 6164592"/>
              <a:gd name="connsiteX22" fmla="*/ 615141 w 2857253"/>
              <a:gd name="connsiteY22" fmla="*/ 85067 h 6164592"/>
              <a:gd name="connsiteX23" fmla="*/ 790484 w 2857253"/>
              <a:gd name="connsiteY23" fmla="*/ 250893 h 6164592"/>
              <a:gd name="connsiteX24" fmla="*/ 2022561 w 2857253"/>
              <a:gd name="connsiteY24" fmla="*/ 250893 h 6164592"/>
              <a:gd name="connsiteX25" fmla="*/ 2195566 w 2857253"/>
              <a:gd name="connsiteY25" fmla="*/ 178490 h 6164592"/>
              <a:gd name="connsiteX26" fmla="*/ 2230634 w 2857253"/>
              <a:gd name="connsiteY26" fmla="*/ 92074 h 6164592"/>
              <a:gd name="connsiteX27" fmla="*/ 2345192 w 2857253"/>
              <a:gd name="connsiteY27" fmla="*/ 986 h 6164592"/>
              <a:gd name="connsiteX0" fmla="*/ 2345192 w 2857253"/>
              <a:gd name="connsiteY0" fmla="*/ 986 h 6164592"/>
              <a:gd name="connsiteX1" fmla="*/ 2508845 w 2857253"/>
              <a:gd name="connsiteY1" fmla="*/ 10328 h 6164592"/>
              <a:gd name="connsiteX2" fmla="*/ 2663147 w 2857253"/>
              <a:gd name="connsiteY2" fmla="*/ 36020 h 6164592"/>
              <a:gd name="connsiteX3" fmla="*/ 2829139 w 2857253"/>
              <a:gd name="connsiteY3" fmla="*/ 211188 h 6164592"/>
              <a:gd name="connsiteX4" fmla="*/ 2845504 w 2857253"/>
              <a:gd name="connsiteY4" fmla="*/ 554819 h 6164592"/>
              <a:gd name="connsiteX5" fmla="*/ 2851299 w 2857253"/>
              <a:gd name="connsiteY5" fmla="*/ 812870 h 6164592"/>
              <a:gd name="connsiteX6" fmla="*/ 2853943 w 2857253"/>
              <a:gd name="connsiteY6" fmla="*/ 1184828 h 6164592"/>
              <a:gd name="connsiteX7" fmla="*/ 2850180 w 2857253"/>
              <a:gd name="connsiteY7" fmla="*/ 1395330 h 6164592"/>
              <a:gd name="connsiteX8" fmla="*/ 2850180 w 2857253"/>
              <a:gd name="connsiteY8" fmla="*/ 5741852 h 6164592"/>
              <a:gd name="connsiteX9" fmla="*/ 2826801 w 2857253"/>
              <a:gd name="connsiteY9" fmla="*/ 5963732 h 6164592"/>
              <a:gd name="connsiteX10" fmla="*/ 2766015 w 2857253"/>
              <a:gd name="connsiteY10" fmla="*/ 6054820 h 6164592"/>
              <a:gd name="connsiteX11" fmla="*/ 2429356 w 2857253"/>
              <a:gd name="connsiteY11" fmla="*/ 6164592 h 6164592"/>
              <a:gd name="connsiteX12" fmla="*/ 362647 w 2857253"/>
              <a:gd name="connsiteY12" fmla="*/ 6162257 h 6164592"/>
              <a:gd name="connsiteX13" fmla="*/ 103139 w 2857253"/>
              <a:gd name="connsiteY13" fmla="*/ 6078176 h 6164592"/>
              <a:gd name="connsiteX14" fmla="*/ 7285 w 2857253"/>
              <a:gd name="connsiteY14" fmla="*/ 5828268 h 6164592"/>
              <a:gd name="connsiteX15" fmla="*/ 7285 w 2857253"/>
              <a:gd name="connsiteY15" fmla="*/ 3915425 h 6164592"/>
              <a:gd name="connsiteX16" fmla="*/ 7285 w 2857253"/>
              <a:gd name="connsiteY16" fmla="*/ 3214749 h 6164592"/>
              <a:gd name="connsiteX17" fmla="*/ 4947 w 2857253"/>
              <a:gd name="connsiteY17" fmla="*/ 687648 h 6164592"/>
              <a:gd name="connsiteX18" fmla="*/ 2609 w 2857253"/>
              <a:gd name="connsiteY18" fmla="*/ 398035 h 6164592"/>
              <a:gd name="connsiteX19" fmla="*/ 47029 w 2857253"/>
              <a:gd name="connsiteY19" fmla="*/ 152799 h 6164592"/>
              <a:gd name="connsiteX20" fmla="*/ 234062 w 2857253"/>
              <a:gd name="connsiteY20" fmla="*/ 22006 h 6164592"/>
              <a:gd name="connsiteX21" fmla="*/ 545003 w 2857253"/>
              <a:gd name="connsiteY21" fmla="*/ 7993 h 6164592"/>
              <a:gd name="connsiteX22" fmla="*/ 615141 w 2857253"/>
              <a:gd name="connsiteY22" fmla="*/ 85067 h 6164592"/>
              <a:gd name="connsiteX23" fmla="*/ 790484 w 2857253"/>
              <a:gd name="connsiteY23" fmla="*/ 250893 h 6164592"/>
              <a:gd name="connsiteX24" fmla="*/ 2022561 w 2857253"/>
              <a:gd name="connsiteY24" fmla="*/ 250893 h 6164592"/>
              <a:gd name="connsiteX25" fmla="*/ 2195566 w 2857253"/>
              <a:gd name="connsiteY25" fmla="*/ 178490 h 6164592"/>
              <a:gd name="connsiteX26" fmla="*/ 2230634 w 2857253"/>
              <a:gd name="connsiteY26" fmla="*/ 92074 h 6164592"/>
              <a:gd name="connsiteX27" fmla="*/ 2345192 w 2857253"/>
              <a:gd name="connsiteY27" fmla="*/ 986 h 6164592"/>
              <a:gd name="connsiteX0" fmla="*/ 2345192 w 2860168"/>
              <a:gd name="connsiteY0" fmla="*/ 986 h 6164592"/>
              <a:gd name="connsiteX1" fmla="*/ 2508845 w 2860168"/>
              <a:gd name="connsiteY1" fmla="*/ 10328 h 6164592"/>
              <a:gd name="connsiteX2" fmla="*/ 2663147 w 2860168"/>
              <a:gd name="connsiteY2" fmla="*/ 36020 h 6164592"/>
              <a:gd name="connsiteX3" fmla="*/ 2829139 w 2860168"/>
              <a:gd name="connsiteY3" fmla="*/ 211188 h 6164592"/>
              <a:gd name="connsiteX4" fmla="*/ 2849875 w 2860168"/>
              <a:gd name="connsiteY4" fmla="*/ 554819 h 6164592"/>
              <a:gd name="connsiteX5" fmla="*/ 2851299 w 2860168"/>
              <a:gd name="connsiteY5" fmla="*/ 812870 h 6164592"/>
              <a:gd name="connsiteX6" fmla="*/ 2853943 w 2860168"/>
              <a:gd name="connsiteY6" fmla="*/ 1184828 h 6164592"/>
              <a:gd name="connsiteX7" fmla="*/ 2850180 w 2860168"/>
              <a:gd name="connsiteY7" fmla="*/ 1395330 h 6164592"/>
              <a:gd name="connsiteX8" fmla="*/ 2850180 w 2860168"/>
              <a:gd name="connsiteY8" fmla="*/ 5741852 h 6164592"/>
              <a:gd name="connsiteX9" fmla="*/ 2826801 w 2860168"/>
              <a:gd name="connsiteY9" fmla="*/ 5963732 h 6164592"/>
              <a:gd name="connsiteX10" fmla="*/ 2766015 w 2860168"/>
              <a:gd name="connsiteY10" fmla="*/ 6054820 h 6164592"/>
              <a:gd name="connsiteX11" fmla="*/ 2429356 w 2860168"/>
              <a:gd name="connsiteY11" fmla="*/ 6164592 h 6164592"/>
              <a:gd name="connsiteX12" fmla="*/ 362647 w 2860168"/>
              <a:gd name="connsiteY12" fmla="*/ 6162257 h 6164592"/>
              <a:gd name="connsiteX13" fmla="*/ 103139 w 2860168"/>
              <a:gd name="connsiteY13" fmla="*/ 6078176 h 6164592"/>
              <a:gd name="connsiteX14" fmla="*/ 7285 w 2860168"/>
              <a:gd name="connsiteY14" fmla="*/ 5828268 h 6164592"/>
              <a:gd name="connsiteX15" fmla="*/ 7285 w 2860168"/>
              <a:gd name="connsiteY15" fmla="*/ 3915425 h 6164592"/>
              <a:gd name="connsiteX16" fmla="*/ 7285 w 2860168"/>
              <a:gd name="connsiteY16" fmla="*/ 3214749 h 6164592"/>
              <a:gd name="connsiteX17" fmla="*/ 4947 w 2860168"/>
              <a:gd name="connsiteY17" fmla="*/ 687648 h 6164592"/>
              <a:gd name="connsiteX18" fmla="*/ 2609 w 2860168"/>
              <a:gd name="connsiteY18" fmla="*/ 398035 h 6164592"/>
              <a:gd name="connsiteX19" fmla="*/ 47029 w 2860168"/>
              <a:gd name="connsiteY19" fmla="*/ 152799 h 6164592"/>
              <a:gd name="connsiteX20" fmla="*/ 234062 w 2860168"/>
              <a:gd name="connsiteY20" fmla="*/ 22006 h 6164592"/>
              <a:gd name="connsiteX21" fmla="*/ 545003 w 2860168"/>
              <a:gd name="connsiteY21" fmla="*/ 7993 h 6164592"/>
              <a:gd name="connsiteX22" fmla="*/ 615141 w 2860168"/>
              <a:gd name="connsiteY22" fmla="*/ 85067 h 6164592"/>
              <a:gd name="connsiteX23" fmla="*/ 790484 w 2860168"/>
              <a:gd name="connsiteY23" fmla="*/ 250893 h 6164592"/>
              <a:gd name="connsiteX24" fmla="*/ 2022561 w 2860168"/>
              <a:gd name="connsiteY24" fmla="*/ 250893 h 6164592"/>
              <a:gd name="connsiteX25" fmla="*/ 2195566 w 2860168"/>
              <a:gd name="connsiteY25" fmla="*/ 178490 h 6164592"/>
              <a:gd name="connsiteX26" fmla="*/ 2230634 w 2860168"/>
              <a:gd name="connsiteY26" fmla="*/ 92074 h 6164592"/>
              <a:gd name="connsiteX27" fmla="*/ 2345192 w 2860168"/>
              <a:gd name="connsiteY27" fmla="*/ 986 h 6164592"/>
              <a:gd name="connsiteX0" fmla="*/ 2345192 w 2854520"/>
              <a:gd name="connsiteY0" fmla="*/ 986 h 6164592"/>
              <a:gd name="connsiteX1" fmla="*/ 2508845 w 2854520"/>
              <a:gd name="connsiteY1" fmla="*/ 10328 h 6164592"/>
              <a:gd name="connsiteX2" fmla="*/ 2663147 w 2854520"/>
              <a:gd name="connsiteY2" fmla="*/ 36020 h 6164592"/>
              <a:gd name="connsiteX3" fmla="*/ 2829139 w 2854520"/>
              <a:gd name="connsiteY3" fmla="*/ 211188 h 6164592"/>
              <a:gd name="connsiteX4" fmla="*/ 2849875 w 2854520"/>
              <a:gd name="connsiteY4" fmla="*/ 554819 h 6164592"/>
              <a:gd name="connsiteX5" fmla="*/ 2851299 w 2854520"/>
              <a:gd name="connsiteY5" fmla="*/ 812870 h 6164592"/>
              <a:gd name="connsiteX6" fmla="*/ 2853943 w 2854520"/>
              <a:gd name="connsiteY6" fmla="*/ 1184828 h 6164592"/>
              <a:gd name="connsiteX7" fmla="*/ 2850180 w 2854520"/>
              <a:gd name="connsiteY7" fmla="*/ 1395330 h 6164592"/>
              <a:gd name="connsiteX8" fmla="*/ 2850180 w 2854520"/>
              <a:gd name="connsiteY8" fmla="*/ 5741852 h 6164592"/>
              <a:gd name="connsiteX9" fmla="*/ 2826801 w 2854520"/>
              <a:gd name="connsiteY9" fmla="*/ 5963732 h 6164592"/>
              <a:gd name="connsiteX10" fmla="*/ 2766015 w 2854520"/>
              <a:gd name="connsiteY10" fmla="*/ 6054820 h 6164592"/>
              <a:gd name="connsiteX11" fmla="*/ 2429356 w 2854520"/>
              <a:gd name="connsiteY11" fmla="*/ 6164592 h 6164592"/>
              <a:gd name="connsiteX12" fmla="*/ 362647 w 2854520"/>
              <a:gd name="connsiteY12" fmla="*/ 6162257 h 6164592"/>
              <a:gd name="connsiteX13" fmla="*/ 103139 w 2854520"/>
              <a:gd name="connsiteY13" fmla="*/ 6078176 h 6164592"/>
              <a:gd name="connsiteX14" fmla="*/ 7285 w 2854520"/>
              <a:gd name="connsiteY14" fmla="*/ 5828268 h 6164592"/>
              <a:gd name="connsiteX15" fmla="*/ 7285 w 2854520"/>
              <a:gd name="connsiteY15" fmla="*/ 3915425 h 6164592"/>
              <a:gd name="connsiteX16" fmla="*/ 7285 w 2854520"/>
              <a:gd name="connsiteY16" fmla="*/ 3214749 h 6164592"/>
              <a:gd name="connsiteX17" fmla="*/ 4947 w 2854520"/>
              <a:gd name="connsiteY17" fmla="*/ 687648 h 6164592"/>
              <a:gd name="connsiteX18" fmla="*/ 2609 w 2854520"/>
              <a:gd name="connsiteY18" fmla="*/ 398035 h 6164592"/>
              <a:gd name="connsiteX19" fmla="*/ 47029 w 2854520"/>
              <a:gd name="connsiteY19" fmla="*/ 152799 h 6164592"/>
              <a:gd name="connsiteX20" fmla="*/ 234062 w 2854520"/>
              <a:gd name="connsiteY20" fmla="*/ 22006 h 6164592"/>
              <a:gd name="connsiteX21" fmla="*/ 545003 w 2854520"/>
              <a:gd name="connsiteY21" fmla="*/ 7993 h 6164592"/>
              <a:gd name="connsiteX22" fmla="*/ 615141 w 2854520"/>
              <a:gd name="connsiteY22" fmla="*/ 85067 h 6164592"/>
              <a:gd name="connsiteX23" fmla="*/ 790484 w 2854520"/>
              <a:gd name="connsiteY23" fmla="*/ 250893 h 6164592"/>
              <a:gd name="connsiteX24" fmla="*/ 2022561 w 2854520"/>
              <a:gd name="connsiteY24" fmla="*/ 250893 h 6164592"/>
              <a:gd name="connsiteX25" fmla="*/ 2195566 w 2854520"/>
              <a:gd name="connsiteY25" fmla="*/ 178490 h 6164592"/>
              <a:gd name="connsiteX26" fmla="*/ 2230634 w 2854520"/>
              <a:gd name="connsiteY26" fmla="*/ 92074 h 6164592"/>
              <a:gd name="connsiteX27" fmla="*/ 2345192 w 2854520"/>
              <a:gd name="connsiteY27" fmla="*/ 986 h 6164592"/>
              <a:gd name="connsiteX0" fmla="*/ 2345192 w 2854520"/>
              <a:gd name="connsiteY0" fmla="*/ 986 h 6164592"/>
              <a:gd name="connsiteX1" fmla="*/ 2508845 w 2854520"/>
              <a:gd name="connsiteY1" fmla="*/ 10328 h 6164592"/>
              <a:gd name="connsiteX2" fmla="*/ 2663147 w 2854520"/>
              <a:gd name="connsiteY2" fmla="*/ 36020 h 6164592"/>
              <a:gd name="connsiteX3" fmla="*/ 2829139 w 2854520"/>
              <a:gd name="connsiteY3" fmla="*/ 211188 h 6164592"/>
              <a:gd name="connsiteX4" fmla="*/ 2849875 w 2854520"/>
              <a:gd name="connsiteY4" fmla="*/ 554819 h 6164592"/>
              <a:gd name="connsiteX5" fmla="*/ 2851299 w 2854520"/>
              <a:gd name="connsiteY5" fmla="*/ 812870 h 6164592"/>
              <a:gd name="connsiteX6" fmla="*/ 2853943 w 2854520"/>
              <a:gd name="connsiteY6" fmla="*/ 1184828 h 6164592"/>
              <a:gd name="connsiteX7" fmla="*/ 2850180 w 2854520"/>
              <a:gd name="connsiteY7" fmla="*/ 1395330 h 6164592"/>
              <a:gd name="connsiteX8" fmla="*/ 2850180 w 2854520"/>
              <a:gd name="connsiteY8" fmla="*/ 5741852 h 6164592"/>
              <a:gd name="connsiteX9" fmla="*/ 2826801 w 2854520"/>
              <a:gd name="connsiteY9" fmla="*/ 5963732 h 6164592"/>
              <a:gd name="connsiteX10" fmla="*/ 2766015 w 2854520"/>
              <a:gd name="connsiteY10" fmla="*/ 6054820 h 6164592"/>
              <a:gd name="connsiteX11" fmla="*/ 2429356 w 2854520"/>
              <a:gd name="connsiteY11" fmla="*/ 6164592 h 6164592"/>
              <a:gd name="connsiteX12" fmla="*/ 362647 w 2854520"/>
              <a:gd name="connsiteY12" fmla="*/ 6162257 h 6164592"/>
              <a:gd name="connsiteX13" fmla="*/ 103139 w 2854520"/>
              <a:gd name="connsiteY13" fmla="*/ 6078176 h 6164592"/>
              <a:gd name="connsiteX14" fmla="*/ 7285 w 2854520"/>
              <a:gd name="connsiteY14" fmla="*/ 5828268 h 6164592"/>
              <a:gd name="connsiteX15" fmla="*/ 7285 w 2854520"/>
              <a:gd name="connsiteY15" fmla="*/ 3915425 h 6164592"/>
              <a:gd name="connsiteX16" fmla="*/ 7285 w 2854520"/>
              <a:gd name="connsiteY16" fmla="*/ 3214749 h 6164592"/>
              <a:gd name="connsiteX17" fmla="*/ 4947 w 2854520"/>
              <a:gd name="connsiteY17" fmla="*/ 687648 h 6164592"/>
              <a:gd name="connsiteX18" fmla="*/ 2609 w 2854520"/>
              <a:gd name="connsiteY18" fmla="*/ 398035 h 6164592"/>
              <a:gd name="connsiteX19" fmla="*/ 47029 w 2854520"/>
              <a:gd name="connsiteY19" fmla="*/ 152799 h 6164592"/>
              <a:gd name="connsiteX20" fmla="*/ 234062 w 2854520"/>
              <a:gd name="connsiteY20" fmla="*/ 22006 h 6164592"/>
              <a:gd name="connsiteX21" fmla="*/ 545003 w 2854520"/>
              <a:gd name="connsiteY21" fmla="*/ 7993 h 6164592"/>
              <a:gd name="connsiteX22" fmla="*/ 615141 w 2854520"/>
              <a:gd name="connsiteY22" fmla="*/ 85067 h 6164592"/>
              <a:gd name="connsiteX23" fmla="*/ 790484 w 2854520"/>
              <a:gd name="connsiteY23" fmla="*/ 250893 h 6164592"/>
              <a:gd name="connsiteX24" fmla="*/ 2022561 w 2854520"/>
              <a:gd name="connsiteY24" fmla="*/ 250893 h 6164592"/>
              <a:gd name="connsiteX25" fmla="*/ 2195566 w 2854520"/>
              <a:gd name="connsiteY25" fmla="*/ 178490 h 6164592"/>
              <a:gd name="connsiteX26" fmla="*/ 2230634 w 2854520"/>
              <a:gd name="connsiteY26" fmla="*/ 92074 h 6164592"/>
              <a:gd name="connsiteX27" fmla="*/ 2345192 w 2854520"/>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52799 h 6164592"/>
              <a:gd name="connsiteX20" fmla="*/ 234062 w 2860975"/>
              <a:gd name="connsiteY20" fmla="*/ 22006 h 6164592"/>
              <a:gd name="connsiteX21" fmla="*/ 545003 w 2860975"/>
              <a:gd name="connsiteY21" fmla="*/ 7993 h 6164592"/>
              <a:gd name="connsiteX22" fmla="*/ 615141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52799 h 6164592"/>
              <a:gd name="connsiteX20" fmla="*/ 234062 w 2860975"/>
              <a:gd name="connsiteY20" fmla="*/ 22006 h 6164592"/>
              <a:gd name="connsiteX21" fmla="*/ 545003 w 2860975"/>
              <a:gd name="connsiteY21" fmla="*/ 7993 h 6164592"/>
              <a:gd name="connsiteX22" fmla="*/ 615141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52799 h 6164592"/>
              <a:gd name="connsiteX20" fmla="*/ 234062 w 2860975"/>
              <a:gd name="connsiteY20" fmla="*/ 22006 h 6164592"/>
              <a:gd name="connsiteX21" fmla="*/ 545003 w 2860975"/>
              <a:gd name="connsiteY21" fmla="*/ 7993 h 6164592"/>
              <a:gd name="connsiteX22" fmla="*/ 641370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52799 h 6164592"/>
              <a:gd name="connsiteX20" fmla="*/ 234062 w 2860975"/>
              <a:gd name="connsiteY20" fmla="*/ 39492 h 6164592"/>
              <a:gd name="connsiteX21" fmla="*/ 545003 w 2860975"/>
              <a:gd name="connsiteY21" fmla="*/ 7993 h 6164592"/>
              <a:gd name="connsiteX22" fmla="*/ 641370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79028 h 6164592"/>
              <a:gd name="connsiteX20" fmla="*/ 234062 w 2860975"/>
              <a:gd name="connsiteY20" fmla="*/ 39492 h 6164592"/>
              <a:gd name="connsiteX21" fmla="*/ 545003 w 2860975"/>
              <a:gd name="connsiteY21" fmla="*/ 7993 h 6164592"/>
              <a:gd name="connsiteX22" fmla="*/ 641370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79028 h 6164592"/>
              <a:gd name="connsiteX20" fmla="*/ 234062 w 2860975"/>
              <a:gd name="connsiteY20" fmla="*/ 39492 h 6164592"/>
              <a:gd name="connsiteX21" fmla="*/ 545003 w 2860975"/>
              <a:gd name="connsiteY21" fmla="*/ 21107 h 6164592"/>
              <a:gd name="connsiteX22" fmla="*/ 641370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790484 w 2860975"/>
              <a:gd name="connsiteY23" fmla="*/ 242419 h 6156118"/>
              <a:gd name="connsiteX24" fmla="*/ 2022561 w 2860975"/>
              <a:gd name="connsiteY24" fmla="*/ 242419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790484 w 2860975"/>
              <a:gd name="connsiteY23" fmla="*/ 242419 h 6156118"/>
              <a:gd name="connsiteX24" fmla="*/ 2022561 w 2860975"/>
              <a:gd name="connsiteY24" fmla="*/ 242419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790484 w 2860975"/>
              <a:gd name="connsiteY23" fmla="*/ 242419 h 6156118"/>
              <a:gd name="connsiteX24" fmla="*/ 2022561 w 2860975"/>
              <a:gd name="connsiteY24" fmla="*/ 242419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790484 w 2860975"/>
              <a:gd name="connsiteY23" fmla="*/ 242419 h 6156118"/>
              <a:gd name="connsiteX24" fmla="*/ 2022561 w 2860975"/>
              <a:gd name="connsiteY24" fmla="*/ 242419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2561 w 2860975"/>
              <a:gd name="connsiteY24" fmla="*/ 242419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60776 w 2860975"/>
              <a:gd name="connsiteY25" fmla="*/ 163057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60776 w 2860975"/>
              <a:gd name="connsiteY25" fmla="*/ 163057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60776 w 2860975"/>
              <a:gd name="connsiteY25" fmla="*/ 163057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60776 w 2860975"/>
              <a:gd name="connsiteY25" fmla="*/ 163057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60776 w 2860975"/>
              <a:gd name="connsiteY25" fmla="*/ 163057 h 6156118"/>
              <a:gd name="connsiteX26" fmla="*/ 2205413 w 2860975"/>
              <a:gd name="connsiteY26" fmla="*/ 89905 h 6156118"/>
              <a:gd name="connsiteX27" fmla="*/ 2340821 w 2860975"/>
              <a:gd name="connsiteY27" fmla="*/ 5626 h 6156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860975" h="6156118">
                <a:moveTo>
                  <a:pt x="2340821" y="5626"/>
                </a:moveTo>
                <a:cubicBezTo>
                  <a:pt x="2394593" y="10297"/>
                  <a:pt x="2455073" y="-5153"/>
                  <a:pt x="2508845" y="1854"/>
                </a:cubicBezTo>
                <a:cubicBezTo>
                  <a:pt x="2560279" y="6525"/>
                  <a:pt x="2614051" y="11197"/>
                  <a:pt x="2663147" y="27546"/>
                </a:cubicBezTo>
                <a:cubicBezTo>
                  <a:pt x="2749650" y="55573"/>
                  <a:pt x="2805759" y="116298"/>
                  <a:pt x="2829139" y="202714"/>
                </a:cubicBezTo>
                <a:cubicBezTo>
                  <a:pt x="2861869" y="317158"/>
                  <a:pt x="2864207" y="422859"/>
                  <a:pt x="2858618" y="541973"/>
                </a:cubicBezTo>
                <a:cubicBezTo>
                  <a:pt x="2851299" y="627790"/>
                  <a:pt x="2852078" y="698666"/>
                  <a:pt x="2851299" y="804396"/>
                </a:cubicBezTo>
                <a:cubicBezTo>
                  <a:pt x="2850520" y="910126"/>
                  <a:pt x="2851605" y="1050232"/>
                  <a:pt x="2853943" y="1176354"/>
                </a:cubicBezTo>
                <a:cubicBezTo>
                  <a:pt x="2856281" y="1248757"/>
                  <a:pt x="2850807" y="627352"/>
                  <a:pt x="2850180" y="1386856"/>
                </a:cubicBezTo>
                <a:cubicBezTo>
                  <a:pt x="2849553" y="2146360"/>
                  <a:pt x="2850180" y="4284537"/>
                  <a:pt x="2850180" y="5733378"/>
                </a:cubicBezTo>
                <a:cubicBezTo>
                  <a:pt x="2850180" y="5808116"/>
                  <a:pt x="2840828" y="5882855"/>
                  <a:pt x="2826801" y="5955258"/>
                </a:cubicBezTo>
                <a:cubicBezTo>
                  <a:pt x="2819787" y="5987956"/>
                  <a:pt x="2791732" y="6020654"/>
                  <a:pt x="2766015" y="6046346"/>
                </a:cubicBezTo>
                <a:cubicBezTo>
                  <a:pt x="2674837" y="6142105"/>
                  <a:pt x="2555603" y="6156118"/>
                  <a:pt x="2429356" y="6156118"/>
                </a:cubicBezTo>
                <a:lnTo>
                  <a:pt x="362647" y="6153783"/>
                </a:lnTo>
                <a:cubicBezTo>
                  <a:pt x="269130" y="6153783"/>
                  <a:pt x="177952" y="6139769"/>
                  <a:pt x="103139" y="6069702"/>
                </a:cubicBezTo>
                <a:cubicBezTo>
                  <a:pt x="33002" y="6001970"/>
                  <a:pt x="7285" y="5913218"/>
                  <a:pt x="7285" y="5819794"/>
                </a:cubicBezTo>
                <a:cubicBezTo>
                  <a:pt x="4947" y="5182180"/>
                  <a:pt x="7285" y="4544565"/>
                  <a:pt x="7285" y="3906951"/>
                </a:cubicBezTo>
                <a:lnTo>
                  <a:pt x="7285" y="3206275"/>
                </a:lnTo>
                <a:cubicBezTo>
                  <a:pt x="7285" y="2363130"/>
                  <a:pt x="7285" y="1522319"/>
                  <a:pt x="4947" y="679174"/>
                </a:cubicBezTo>
                <a:cubicBezTo>
                  <a:pt x="4947" y="583415"/>
                  <a:pt x="-4405" y="485320"/>
                  <a:pt x="2609" y="389561"/>
                </a:cubicBezTo>
                <a:cubicBezTo>
                  <a:pt x="7285" y="307816"/>
                  <a:pt x="23650" y="249964"/>
                  <a:pt x="47029" y="170554"/>
                </a:cubicBezTo>
                <a:cubicBezTo>
                  <a:pt x="75084" y="84137"/>
                  <a:pt x="151066" y="57338"/>
                  <a:pt x="234062" y="31018"/>
                </a:cubicBezTo>
                <a:cubicBezTo>
                  <a:pt x="317058" y="4698"/>
                  <a:pt x="477118" y="5037"/>
                  <a:pt x="545003" y="12633"/>
                </a:cubicBezTo>
                <a:cubicBezTo>
                  <a:pt x="612888" y="20229"/>
                  <a:pt x="636694" y="29881"/>
                  <a:pt x="641370" y="76593"/>
                </a:cubicBezTo>
                <a:cubicBezTo>
                  <a:pt x="687972" y="205752"/>
                  <a:pt x="791992" y="193111"/>
                  <a:pt x="853104" y="193715"/>
                </a:cubicBezTo>
                <a:lnTo>
                  <a:pt x="2029518" y="193715"/>
                </a:lnTo>
                <a:cubicBezTo>
                  <a:pt x="2064606" y="188605"/>
                  <a:pt x="2108420" y="181980"/>
                  <a:pt x="2160776" y="163057"/>
                </a:cubicBezTo>
                <a:cubicBezTo>
                  <a:pt x="2179479" y="137366"/>
                  <a:pt x="2200737" y="120267"/>
                  <a:pt x="2205413" y="89905"/>
                </a:cubicBezTo>
                <a:cubicBezTo>
                  <a:pt x="2217103" y="22173"/>
                  <a:pt x="2251164" y="11733"/>
                  <a:pt x="2340821" y="5626"/>
                </a:cubicBezTo>
                <a:close/>
              </a:path>
            </a:pathLst>
          </a:custGeom>
          <a:blipFill>
            <a:blip r:embed="rId5"/>
            <a:stretch>
              <a:fillRect l="-121001" r="-138446" b="-5101"/>
            </a:stretch>
          </a:blipFill>
        </p:spPr>
        <p:txBody>
          <a:bodyPr wrap="square" anchor="ctr" anchorCtr="1">
            <a:noAutofit/>
          </a:bodyPr>
          <a:lstStyle>
            <a:lvl1pPr marL="0" indent="0">
              <a:buNone/>
              <a:defRPr/>
            </a:lvl1pPr>
          </a:lstStyle>
          <a:p>
            <a:endParaRPr lang="en-US"/>
          </a:p>
        </p:txBody>
      </p:sp>
      <p:sp>
        <p:nvSpPr>
          <p:cNvPr id="61" name="Picture Placeholder 3">
            <a:extLst>
              <a:ext uri="{FF2B5EF4-FFF2-40B4-BE49-F238E27FC236}">
                <a16:creationId xmlns:a16="http://schemas.microsoft.com/office/drawing/2014/main" id="{B5C04179-D9E5-3748-BB16-E43D542CBD80}"/>
              </a:ext>
            </a:extLst>
          </p:cNvPr>
          <p:cNvSpPr>
            <a:spLocks noGrp="1" noChangeAspect="1"/>
          </p:cNvSpPr>
          <p:nvPr>
            <p:ph type="pic" sz="quarter" idx="13"/>
          </p:nvPr>
        </p:nvSpPr>
        <p:spPr>
          <a:xfrm>
            <a:off x="8393206" y="4384791"/>
            <a:ext cx="1440599" cy="3099816"/>
          </a:xfrm>
          <a:custGeom>
            <a:avLst/>
            <a:gdLst>
              <a:gd name="connsiteX0" fmla="*/ 2345192 w 2857253"/>
              <a:gd name="connsiteY0" fmla="*/ 986 h 6164592"/>
              <a:gd name="connsiteX1" fmla="*/ 2508845 w 2857253"/>
              <a:gd name="connsiteY1" fmla="*/ 10328 h 6164592"/>
              <a:gd name="connsiteX2" fmla="*/ 2663147 w 2857253"/>
              <a:gd name="connsiteY2" fmla="*/ 36020 h 6164592"/>
              <a:gd name="connsiteX3" fmla="*/ 2829139 w 2857253"/>
              <a:gd name="connsiteY3" fmla="*/ 211188 h 6164592"/>
              <a:gd name="connsiteX4" fmla="*/ 2845504 w 2857253"/>
              <a:gd name="connsiteY4" fmla="*/ 559190 h 6164592"/>
              <a:gd name="connsiteX5" fmla="*/ 2833814 w 2857253"/>
              <a:gd name="connsiteY5" fmla="*/ 799756 h 6164592"/>
              <a:gd name="connsiteX6" fmla="*/ 2840828 w 2857253"/>
              <a:gd name="connsiteY6" fmla="*/ 1180456 h 6164592"/>
              <a:gd name="connsiteX7" fmla="*/ 2850180 w 2857253"/>
              <a:gd name="connsiteY7" fmla="*/ 1395330 h 6164592"/>
              <a:gd name="connsiteX8" fmla="*/ 2850180 w 2857253"/>
              <a:gd name="connsiteY8" fmla="*/ 5741852 h 6164592"/>
              <a:gd name="connsiteX9" fmla="*/ 2826801 w 2857253"/>
              <a:gd name="connsiteY9" fmla="*/ 5963732 h 6164592"/>
              <a:gd name="connsiteX10" fmla="*/ 2766015 w 2857253"/>
              <a:gd name="connsiteY10" fmla="*/ 6054820 h 6164592"/>
              <a:gd name="connsiteX11" fmla="*/ 2429356 w 2857253"/>
              <a:gd name="connsiteY11" fmla="*/ 6164592 h 6164592"/>
              <a:gd name="connsiteX12" fmla="*/ 362647 w 2857253"/>
              <a:gd name="connsiteY12" fmla="*/ 6162257 h 6164592"/>
              <a:gd name="connsiteX13" fmla="*/ 103139 w 2857253"/>
              <a:gd name="connsiteY13" fmla="*/ 6078176 h 6164592"/>
              <a:gd name="connsiteX14" fmla="*/ 7285 w 2857253"/>
              <a:gd name="connsiteY14" fmla="*/ 5828268 h 6164592"/>
              <a:gd name="connsiteX15" fmla="*/ 7285 w 2857253"/>
              <a:gd name="connsiteY15" fmla="*/ 3915425 h 6164592"/>
              <a:gd name="connsiteX16" fmla="*/ 7285 w 2857253"/>
              <a:gd name="connsiteY16" fmla="*/ 3214749 h 6164592"/>
              <a:gd name="connsiteX17" fmla="*/ 4947 w 2857253"/>
              <a:gd name="connsiteY17" fmla="*/ 687648 h 6164592"/>
              <a:gd name="connsiteX18" fmla="*/ 2609 w 2857253"/>
              <a:gd name="connsiteY18" fmla="*/ 398035 h 6164592"/>
              <a:gd name="connsiteX19" fmla="*/ 47029 w 2857253"/>
              <a:gd name="connsiteY19" fmla="*/ 152799 h 6164592"/>
              <a:gd name="connsiteX20" fmla="*/ 234062 w 2857253"/>
              <a:gd name="connsiteY20" fmla="*/ 22006 h 6164592"/>
              <a:gd name="connsiteX21" fmla="*/ 545003 w 2857253"/>
              <a:gd name="connsiteY21" fmla="*/ 7993 h 6164592"/>
              <a:gd name="connsiteX22" fmla="*/ 615141 w 2857253"/>
              <a:gd name="connsiteY22" fmla="*/ 85067 h 6164592"/>
              <a:gd name="connsiteX23" fmla="*/ 790484 w 2857253"/>
              <a:gd name="connsiteY23" fmla="*/ 250893 h 6164592"/>
              <a:gd name="connsiteX24" fmla="*/ 2022561 w 2857253"/>
              <a:gd name="connsiteY24" fmla="*/ 250893 h 6164592"/>
              <a:gd name="connsiteX25" fmla="*/ 2195566 w 2857253"/>
              <a:gd name="connsiteY25" fmla="*/ 178490 h 6164592"/>
              <a:gd name="connsiteX26" fmla="*/ 2230634 w 2857253"/>
              <a:gd name="connsiteY26" fmla="*/ 92074 h 6164592"/>
              <a:gd name="connsiteX27" fmla="*/ 2345192 w 2857253"/>
              <a:gd name="connsiteY27" fmla="*/ 986 h 6164592"/>
              <a:gd name="connsiteX0" fmla="*/ 2345192 w 2857253"/>
              <a:gd name="connsiteY0" fmla="*/ 986 h 6164592"/>
              <a:gd name="connsiteX1" fmla="*/ 2508845 w 2857253"/>
              <a:gd name="connsiteY1" fmla="*/ 10328 h 6164592"/>
              <a:gd name="connsiteX2" fmla="*/ 2663147 w 2857253"/>
              <a:gd name="connsiteY2" fmla="*/ 36020 h 6164592"/>
              <a:gd name="connsiteX3" fmla="*/ 2829139 w 2857253"/>
              <a:gd name="connsiteY3" fmla="*/ 211188 h 6164592"/>
              <a:gd name="connsiteX4" fmla="*/ 2845504 w 2857253"/>
              <a:gd name="connsiteY4" fmla="*/ 554819 h 6164592"/>
              <a:gd name="connsiteX5" fmla="*/ 2833814 w 2857253"/>
              <a:gd name="connsiteY5" fmla="*/ 799756 h 6164592"/>
              <a:gd name="connsiteX6" fmla="*/ 2840828 w 2857253"/>
              <a:gd name="connsiteY6" fmla="*/ 1180456 h 6164592"/>
              <a:gd name="connsiteX7" fmla="*/ 2850180 w 2857253"/>
              <a:gd name="connsiteY7" fmla="*/ 1395330 h 6164592"/>
              <a:gd name="connsiteX8" fmla="*/ 2850180 w 2857253"/>
              <a:gd name="connsiteY8" fmla="*/ 5741852 h 6164592"/>
              <a:gd name="connsiteX9" fmla="*/ 2826801 w 2857253"/>
              <a:gd name="connsiteY9" fmla="*/ 5963732 h 6164592"/>
              <a:gd name="connsiteX10" fmla="*/ 2766015 w 2857253"/>
              <a:gd name="connsiteY10" fmla="*/ 6054820 h 6164592"/>
              <a:gd name="connsiteX11" fmla="*/ 2429356 w 2857253"/>
              <a:gd name="connsiteY11" fmla="*/ 6164592 h 6164592"/>
              <a:gd name="connsiteX12" fmla="*/ 362647 w 2857253"/>
              <a:gd name="connsiteY12" fmla="*/ 6162257 h 6164592"/>
              <a:gd name="connsiteX13" fmla="*/ 103139 w 2857253"/>
              <a:gd name="connsiteY13" fmla="*/ 6078176 h 6164592"/>
              <a:gd name="connsiteX14" fmla="*/ 7285 w 2857253"/>
              <a:gd name="connsiteY14" fmla="*/ 5828268 h 6164592"/>
              <a:gd name="connsiteX15" fmla="*/ 7285 w 2857253"/>
              <a:gd name="connsiteY15" fmla="*/ 3915425 h 6164592"/>
              <a:gd name="connsiteX16" fmla="*/ 7285 w 2857253"/>
              <a:gd name="connsiteY16" fmla="*/ 3214749 h 6164592"/>
              <a:gd name="connsiteX17" fmla="*/ 4947 w 2857253"/>
              <a:gd name="connsiteY17" fmla="*/ 687648 h 6164592"/>
              <a:gd name="connsiteX18" fmla="*/ 2609 w 2857253"/>
              <a:gd name="connsiteY18" fmla="*/ 398035 h 6164592"/>
              <a:gd name="connsiteX19" fmla="*/ 47029 w 2857253"/>
              <a:gd name="connsiteY19" fmla="*/ 152799 h 6164592"/>
              <a:gd name="connsiteX20" fmla="*/ 234062 w 2857253"/>
              <a:gd name="connsiteY20" fmla="*/ 22006 h 6164592"/>
              <a:gd name="connsiteX21" fmla="*/ 545003 w 2857253"/>
              <a:gd name="connsiteY21" fmla="*/ 7993 h 6164592"/>
              <a:gd name="connsiteX22" fmla="*/ 615141 w 2857253"/>
              <a:gd name="connsiteY22" fmla="*/ 85067 h 6164592"/>
              <a:gd name="connsiteX23" fmla="*/ 790484 w 2857253"/>
              <a:gd name="connsiteY23" fmla="*/ 250893 h 6164592"/>
              <a:gd name="connsiteX24" fmla="*/ 2022561 w 2857253"/>
              <a:gd name="connsiteY24" fmla="*/ 250893 h 6164592"/>
              <a:gd name="connsiteX25" fmla="*/ 2195566 w 2857253"/>
              <a:gd name="connsiteY25" fmla="*/ 178490 h 6164592"/>
              <a:gd name="connsiteX26" fmla="*/ 2230634 w 2857253"/>
              <a:gd name="connsiteY26" fmla="*/ 92074 h 6164592"/>
              <a:gd name="connsiteX27" fmla="*/ 2345192 w 2857253"/>
              <a:gd name="connsiteY27" fmla="*/ 986 h 6164592"/>
              <a:gd name="connsiteX0" fmla="*/ 2345192 w 2857253"/>
              <a:gd name="connsiteY0" fmla="*/ 986 h 6164592"/>
              <a:gd name="connsiteX1" fmla="*/ 2508845 w 2857253"/>
              <a:gd name="connsiteY1" fmla="*/ 10328 h 6164592"/>
              <a:gd name="connsiteX2" fmla="*/ 2663147 w 2857253"/>
              <a:gd name="connsiteY2" fmla="*/ 36020 h 6164592"/>
              <a:gd name="connsiteX3" fmla="*/ 2829139 w 2857253"/>
              <a:gd name="connsiteY3" fmla="*/ 211188 h 6164592"/>
              <a:gd name="connsiteX4" fmla="*/ 2845504 w 2857253"/>
              <a:gd name="connsiteY4" fmla="*/ 554819 h 6164592"/>
              <a:gd name="connsiteX5" fmla="*/ 2851299 w 2857253"/>
              <a:gd name="connsiteY5" fmla="*/ 812870 h 6164592"/>
              <a:gd name="connsiteX6" fmla="*/ 2840828 w 2857253"/>
              <a:gd name="connsiteY6" fmla="*/ 1180456 h 6164592"/>
              <a:gd name="connsiteX7" fmla="*/ 2850180 w 2857253"/>
              <a:gd name="connsiteY7" fmla="*/ 1395330 h 6164592"/>
              <a:gd name="connsiteX8" fmla="*/ 2850180 w 2857253"/>
              <a:gd name="connsiteY8" fmla="*/ 5741852 h 6164592"/>
              <a:gd name="connsiteX9" fmla="*/ 2826801 w 2857253"/>
              <a:gd name="connsiteY9" fmla="*/ 5963732 h 6164592"/>
              <a:gd name="connsiteX10" fmla="*/ 2766015 w 2857253"/>
              <a:gd name="connsiteY10" fmla="*/ 6054820 h 6164592"/>
              <a:gd name="connsiteX11" fmla="*/ 2429356 w 2857253"/>
              <a:gd name="connsiteY11" fmla="*/ 6164592 h 6164592"/>
              <a:gd name="connsiteX12" fmla="*/ 362647 w 2857253"/>
              <a:gd name="connsiteY12" fmla="*/ 6162257 h 6164592"/>
              <a:gd name="connsiteX13" fmla="*/ 103139 w 2857253"/>
              <a:gd name="connsiteY13" fmla="*/ 6078176 h 6164592"/>
              <a:gd name="connsiteX14" fmla="*/ 7285 w 2857253"/>
              <a:gd name="connsiteY14" fmla="*/ 5828268 h 6164592"/>
              <a:gd name="connsiteX15" fmla="*/ 7285 w 2857253"/>
              <a:gd name="connsiteY15" fmla="*/ 3915425 h 6164592"/>
              <a:gd name="connsiteX16" fmla="*/ 7285 w 2857253"/>
              <a:gd name="connsiteY16" fmla="*/ 3214749 h 6164592"/>
              <a:gd name="connsiteX17" fmla="*/ 4947 w 2857253"/>
              <a:gd name="connsiteY17" fmla="*/ 687648 h 6164592"/>
              <a:gd name="connsiteX18" fmla="*/ 2609 w 2857253"/>
              <a:gd name="connsiteY18" fmla="*/ 398035 h 6164592"/>
              <a:gd name="connsiteX19" fmla="*/ 47029 w 2857253"/>
              <a:gd name="connsiteY19" fmla="*/ 152799 h 6164592"/>
              <a:gd name="connsiteX20" fmla="*/ 234062 w 2857253"/>
              <a:gd name="connsiteY20" fmla="*/ 22006 h 6164592"/>
              <a:gd name="connsiteX21" fmla="*/ 545003 w 2857253"/>
              <a:gd name="connsiteY21" fmla="*/ 7993 h 6164592"/>
              <a:gd name="connsiteX22" fmla="*/ 615141 w 2857253"/>
              <a:gd name="connsiteY22" fmla="*/ 85067 h 6164592"/>
              <a:gd name="connsiteX23" fmla="*/ 790484 w 2857253"/>
              <a:gd name="connsiteY23" fmla="*/ 250893 h 6164592"/>
              <a:gd name="connsiteX24" fmla="*/ 2022561 w 2857253"/>
              <a:gd name="connsiteY24" fmla="*/ 250893 h 6164592"/>
              <a:gd name="connsiteX25" fmla="*/ 2195566 w 2857253"/>
              <a:gd name="connsiteY25" fmla="*/ 178490 h 6164592"/>
              <a:gd name="connsiteX26" fmla="*/ 2230634 w 2857253"/>
              <a:gd name="connsiteY26" fmla="*/ 92074 h 6164592"/>
              <a:gd name="connsiteX27" fmla="*/ 2345192 w 2857253"/>
              <a:gd name="connsiteY27" fmla="*/ 986 h 6164592"/>
              <a:gd name="connsiteX0" fmla="*/ 2345192 w 2857253"/>
              <a:gd name="connsiteY0" fmla="*/ 986 h 6164592"/>
              <a:gd name="connsiteX1" fmla="*/ 2508845 w 2857253"/>
              <a:gd name="connsiteY1" fmla="*/ 10328 h 6164592"/>
              <a:gd name="connsiteX2" fmla="*/ 2663147 w 2857253"/>
              <a:gd name="connsiteY2" fmla="*/ 36020 h 6164592"/>
              <a:gd name="connsiteX3" fmla="*/ 2829139 w 2857253"/>
              <a:gd name="connsiteY3" fmla="*/ 211188 h 6164592"/>
              <a:gd name="connsiteX4" fmla="*/ 2845504 w 2857253"/>
              <a:gd name="connsiteY4" fmla="*/ 554819 h 6164592"/>
              <a:gd name="connsiteX5" fmla="*/ 2851299 w 2857253"/>
              <a:gd name="connsiteY5" fmla="*/ 812870 h 6164592"/>
              <a:gd name="connsiteX6" fmla="*/ 2853943 w 2857253"/>
              <a:gd name="connsiteY6" fmla="*/ 1184828 h 6164592"/>
              <a:gd name="connsiteX7" fmla="*/ 2850180 w 2857253"/>
              <a:gd name="connsiteY7" fmla="*/ 1395330 h 6164592"/>
              <a:gd name="connsiteX8" fmla="*/ 2850180 w 2857253"/>
              <a:gd name="connsiteY8" fmla="*/ 5741852 h 6164592"/>
              <a:gd name="connsiteX9" fmla="*/ 2826801 w 2857253"/>
              <a:gd name="connsiteY9" fmla="*/ 5963732 h 6164592"/>
              <a:gd name="connsiteX10" fmla="*/ 2766015 w 2857253"/>
              <a:gd name="connsiteY10" fmla="*/ 6054820 h 6164592"/>
              <a:gd name="connsiteX11" fmla="*/ 2429356 w 2857253"/>
              <a:gd name="connsiteY11" fmla="*/ 6164592 h 6164592"/>
              <a:gd name="connsiteX12" fmla="*/ 362647 w 2857253"/>
              <a:gd name="connsiteY12" fmla="*/ 6162257 h 6164592"/>
              <a:gd name="connsiteX13" fmla="*/ 103139 w 2857253"/>
              <a:gd name="connsiteY13" fmla="*/ 6078176 h 6164592"/>
              <a:gd name="connsiteX14" fmla="*/ 7285 w 2857253"/>
              <a:gd name="connsiteY14" fmla="*/ 5828268 h 6164592"/>
              <a:gd name="connsiteX15" fmla="*/ 7285 w 2857253"/>
              <a:gd name="connsiteY15" fmla="*/ 3915425 h 6164592"/>
              <a:gd name="connsiteX16" fmla="*/ 7285 w 2857253"/>
              <a:gd name="connsiteY16" fmla="*/ 3214749 h 6164592"/>
              <a:gd name="connsiteX17" fmla="*/ 4947 w 2857253"/>
              <a:gd name="connsiteY17" fmla="*/ 687648 h 6164592"/>
              <a:gd name="connsiteX18" fmla="*/ 2609 w 2857253"/>
              <a:gd name="connsiteY18" fmla="*/ 398035 h 6164592"/>
              <a:gd name="connsiteX19" fmla="*/ 47029 w 2857253"/>
              <a:gd name="connsiteY19" fmla="*/ 152799 h 6164592"/>
              <a:gd name="connsiteX20" fmla="*/ 234062 w 2857253"/>
              <a:gd name="connsiteY20" fmla="*/ 22006 h 6164592"/>
              <a:gd name="connsiteX21" fmla="*/ 545003 w 2857253"/>
              <a:gd name="connsiteY21" fmla="*/ 7993 h 6164592"/>
              <a:gd name="connsiteX22" fmla="*/ 615141 w 2857253"/>
              <a:gd name="connsiteY22" fmla="*/ 85067 h 6164592"/>
              <a:gd name="connsiteX23" fmla="*/ 790484 w 2857253"/>
              <a:gd name="connsiteY23" fmla="*/ 250893 h 6164592"/>
              <a:gd name="connsiteX24" fmla="*/ 2022561 w 2857253"/>
              <a:gd name="connsiteY24" fmla="*/ 250893 h 6164592"/>
              <a:gd name="connsiteX25" fmla="*/ 2195566 w 2857253"/>
              <a:gd name="connsiteY25" fmla="*/ 178490 h 6164592"/>
              <a:gd name="connsiteX26" fmla="*/ 2230634 w 2857253"/>
              <a:gd name="connsiteY26" fmla="*/ 92074 h 6164592"/>
              <a:gd name="connsiteX27" fmla="*/ 2345192 w 2857253"/>
              <a:gd name="connsiteY27" fmla="*/ 986 h 6164592"/>
              <a:gd name="connsiteX0" fmla="*/ 2345192 w 2860168"/>
              <a:gd name="connsiteY0" fmla="*/ 986 h 6164592"/>
              <a:gd name="connsiteX1" fmla="*/ 2508845 w 2860168"/>
              <a:gd name="connsiteY1" fmla="*/ 10328 h 6164592"/>
              <a:gd name="connsiteX2" fmla="*/ 2663147 w 2860168"/>
              <a:gd name="connsiteY2" fmla="*/ 36020 h 6164592"/>
              <a:gd name="connsiteX3" fmla="*/ 2829139 w 2860168"/>
              <a:gd name="connsiteY3" fmla="*/ 211188 h 6164592"/>
              <a:gd name="connsiteX4" fmla="*/ 2849875 w 2860168"/>
              <a:gd name="connsiteY4" fmla="*/ 554819 h 6164592"/>
              <a:gd name="connsiteX5" fmla="*/ 2851299 w 2860168"/>
              <a:gd name="connsiteY5" fmla="*/ 812870 h 6164592"/>
              <a:gd name="connsiteX6" fmla="*/ 2853943 w 2860168"/>
              <a:gd name="connsiteY6" fmla="*/ 1184828 h 6164592"/>
              <a:gd name="connsiteX7" fmla="*/ 2850180 w 2860168"/>
              <a:gd name="connsiteY7" fmla="*/ 1395330 h 6164592"/>
              <a:gd name="connsiteX8" fmla="*/ 2850180 w 2860168"/>
              <a:gd name="connsiteY8" fmla="*/ 5741852 h 6164592"/>
              <a:gd name="connsiteX9" fmla="*/ 2826801 w 2860168"/>
              <a:gd name="connsiteY9" fmla="*/ 5963732 h 6164592"/>
              <a:gd name="connsiteX10" fmla="*/ 2766015 w 2860168"/>
              <a:gd name="connsiteY10" fmla="*/ 6054820 h 6164592"/>
              <a:gd name="connsiteX11" fmla="*/ 2429356 w 2860168"/>
              <a:gd name="connsiteY11" fmla="*/ 6164592 h 6164592"/>
              <a:gd name="connsiteX12" fmla="*/ 362647 w 2860168"/>
              <a:gd name="connsiteY12" fmla="*/ 6162257 h 6164592"/>
              <a:gd name="connsiteX13" fmla="*/ 103139 w 2860168"/>
              <a:gd name="connsiteY13" fmla="*/ 6078176 h 6164592"/>
              <a:gd name="connsiteX14" fmla="*/ 7285 w 2860168"/>
              <a:gd name="connsiteY14" fmla="*/ 5828268 h 6164592"/>
              <a:gd name="connsiteX15" fmla="*/ 7285 w 2860168"/>
              <a:gd name="connsiteY15" fmla="*/ 3915425 h 6164592"/>
              <a:gd name="connsiteX16" fmla="*/ 7285 w 2860168"/>
              <a:gd name="connsiteY16" fmla="*/ 3214749 h 6164592"/>
              <a:gd name="connsiteX17" fmla="*/ 4947 w 2860168"/>
              <a:gd name="connsiteY17" fmla="*/ 687648 h 6164592"/>
              <a:gd name="connsiteX18" fmla="*/ 2609 w 2860168"/>
              <a:gd name="connsiteY18" fmla="*/ 398035 h 6164592"/>
              <a:gd name="connsiteX19" fmla="*/ 47029 w 2860168"/>
              <a:gd name="connsiteY19" fmla="*/ 152799 h 6164592"/>
              <a:gd name="connsiteX20" fmla="*/ 234062 w 2860168"/>
              <a:gd name="connsiteY20" fmla="*/ 22006 h 6164592"/>
              <a:gd name="connsiteX21" fmla="*/ 545003 w 2860168"/>
              <a:gd name="connsiteY21" fmla="*/ 7993 h 6164592"/>
              <a:gd name="connsiteX22" fmla="*/ 615141 w 2860168"/>
              <a:gd name="connsiteY22" fmla="*/ 85067 h 6164592"/>
              <a:gd name="connsiteX23" fmla="*/ 790484 w 2860168"/>
              <a:gd name="connsiteY23" fmla="*/ 250893 h 6164592"/>
              <a:gd name="connsiteX24" fmla="*/ 2022561 w 2860168"/>
              <a:gd name="connsiteY24" fmla="*/ 250893 h 6164592"/>
              <a:gd name="connsiteX25" fmla="*/ 2195566 w 2860168"/>
              <a:gd name="connsiteY25" fmla="*/ 178490 h 6164592"/>
              <a:gd name="connsiteX26" fmla="*/ 2230634 w 2860168"/>
              <a:gd name="connsiteY26" fmla="*/ 92074 h 6164592"/>
              <a:gd name="connsiteX27" fmla="*/ 2345192 w 2860168"/>
              <a:gd name="connsiteY27" fmla="*/ 986 h 6164592"/>
              <a:gd name="connsiteX0" fmla="*/ 2345192 w 2854520"/>
              <a:gd name="connsiteY0" fmla="*/ 986 h 6164592"/>
              <a:gd name="connsiteX1" fmla="*/ 2508845 w 2854520"/>
              <a:gd name="connsiteY1" fmla="*/ 10328 h 6164592"/>
              <a:gd name="connsiteX2" fmla="*/ 2663147 w 2854520"/>
              <a:gd name="connsiteY2" fmla="*/ 36020 h 6164592"/>
              <a:gd name="connsiteX3" fmla="*/ 2829139 w 2854520"/>
              <a:gd name="connsiteY3" fmla="*/ 211188 h 6164592"/>
              <a:gd name="connsiteX4" fmla="*/ 2849875 w 2854520"/>
              <a:gd name="connsiteY4" fmla="*/ 554819 h 6164592"/>
              <a:gd name="connsiteX5" fmla="*/ 2851299 w 2854520"/>
              <a:gd name="connsiteY5" fmla="*/ 812870 h 6164592"/>
              <a:gd name="connsiteX6" fmla="*/ 2853943 w 2854520"/>
              <a:gd name="connsiteY6" fmla="*/ 1184828 h 6164592"/>
              <a:gd name="connsiteX7" fmla="*/ 2850180 w 2854520"/>
              <a:gd name="connsiteY7" fmla="*/ 1395330 h 6164592"/>
              <a:gd name="connsiteX8" fmla="*/ 2850180 w 2854520"/>
              <a:gd name="connsiteY8" fmla="*/ 5741852 h 6164592"/>
              <a:gd name="connsiteX9" fmla="*/ 2826801 w 2854520"/>
              <a:gd name="connsiteY9" fmla="*/ 5963732 h 6164592"/>
              <a:gd name="connsiteX10" fmla="*/ 2766015 w 2854520"/>
              <a:gd name="connsiteY10" fmla="*/ 6054820 h 6164592"/>
              <a:gd name="connsiteX11" fmla="*/ 2429356 w 2854520"/>
              <a:gd name="connsiteY11" fmla="*/ 6164592 h 6164592"/>
              <a:gd name="connsiteX12" fmla="*/ 362647 w 2854520"/>
              <a:gd name="connsiteY12" fmla="*/ 6162257 h 6164592"/>
              <a:gd name="connsiteX13" fmla="*/ 103139 w 2854520"/>
              <a:gd name="connsiteY13" fmla="*/ 6078176 h 6164592"/>
              <a:gd name="connsiteX14" fmla="*/ 7285 w 2854520"/>
              <a:gd name="connsiteY14" fmla="*/ 5828268 h 6164592"/>
              <a:gd name="connsiteX15" fmla="*/ 7285 w 2854520"/>
              <a:gd name="connsiteY15" fmla="*/ 3915425 h 6164592"/>
              <a:gd name="connsiteX16" fmla="*/ 7285 w 2854520"/>
              <a:gd name="connsiteY16" fmla="*/ 3214749 h 6164592"/>
              <a:gd name="connsiteX17" fmla="*/ 4947 w 2854520"/>
              <a:gd name="connsiteY17" fmla="*/ 687648 h 6164592"/>
              <a:gd name="connsiteX18" fmla="*/ 2609 w 2854520"/>
              <a:gd name="connsiteY18" fmla="*/ 398035 h 6164592"/>
              <a:gd name="connsiteX19" fmla="*/ 47029 w 2854520"/>
              <a:gd name="connsiteY19" fmla="*/ 152799 h 6164592"/>
              <a:gd name="connsiteX20" fmla="*/ 234062 w 2854520"/>
              <a:gd name="connsiteY20" fmla="*/ 22006 h 6164592"/>
              <a:gd name="connsiteX21" fmla="*/ 545003 w 2854520"/>
              <a:gd name="connsiteY21" fmla="*/ 7993 h 6164592"/>
              <a:gd name="connsiteX22" fmla="*/ 615141 w 2854520"/>
              <a:gd name="connsiteY22" fmla="*/ 85067 h 6164592"/>
              <a:gd name="connsiteX23" fmla="*/ 790484 w 2854520"/>
              <a:gd name="connsiteY23" fmla="*/ 250893 h 6164592"/>
              <a:gd name="connsiteX24" fmla="*/ 2022561 w 2854520"/>
              <a:gd name="connsiteY24" fmla="*/ 250893 h 6164592"/>
              <a:gd name="connsiteX25" fmla="*/ 2195566 w 2854520"/>
              <a:gd name="connsiteY25" fmla="*/ 178490 h 6164592"/>
              <a:gd name="connsiteX26" fmla="*/ 2230634 w 2854520"/>
              <a:gd name="connsiteY26" fmla="*/ 92074 h 6164592"/>
              <a:gd name="connsiteX27" fmla="*/ 2345192 w 2854520"/>
              <a:gd name="connsiteY27" fmla="*/ 986 h 6164592"/>
              <a:gd name="connsiteX0" fmla="*/ 2345192 w 2854520"/>
              <a:gd name="connsiteY0" fmla="*/ 986 h 6164592"/>
              <a:gd name="connsiteX1" fmla="*/ 2508845 w 2854520"/>
              <a:gd name="connsiteY1" fmla="*/ 10328 h 6164592"/>
              <a:gd name="connsiteX2" fmla="*/ 2663147 w 2854520"/>
              <a:gd name="connsiteY2" fmla="*/ 36020 h 6164592"/>
              <a:gd name="connsiteX3" fmla="*/ 2829139 w 2854520"/>
              <a:gd name="connsiteY3" fmla="*/ 211188 h 6164592"/>
              <a:gd name="connsiteX4" fmla="*/ 2849875 w 2854520"/>
              <a:gd name="connsiteY4" fmla="*/ 554819 h 6164592"/>
              <a:gd name="connsiteX5" fmla="*/ 2851299 w 2854520"/>
              <a:gd name="connsiteY5" fmla="*/ 812870 h 6164592"/>
              <a:gd name="connsiteX6" fmla="*/ 2853943 w 2854520"/>
              <a:gd name="connsiteY6" fmla="*/ 1184828 h 6164592"/>
              <a:gd name="connsiteX7" fmla="*/ 2850180 w 2854520"/>
              <a:gd name="connsiteY7" fmla="*/ 1395330 h 6164592"/>
              <a:gd name="connsiteX8" fmla="*/ 2850180 w 2854520"/>
              <a:gd name="connsiteY8" fmla="*/ 5741852 h 6164592"/>
              <a:gd name="connsiteX9" fmla="*/ 2826801 w 2854520"/>
              <a:gd name="connsiteY9" fmla="*/ 5963732 h 6164592"/>
              <a:gd name="connsiteX10" fmla="*/ 2766015 w 2854520"/>
              <a:gd name="connsiteY10" fmla="*/ 6054820 h 6164592"/>
              <a:gd name="connsiteX11" fmla="*/ 2429356 w 2854520"/>
              <a:gd name="connsiteY11" fmla="*/ 6164592 h 6164592"/>
              <a:gd name="connsiteX12" fmla="*/ 362647 w 2854520"/>
              <a:gd name="connsiteY12" fmla="*/ 6162257 h 6164592"/>
              <a:gd name="connsiteX13" fmla="*/ 103139 w 2854520"/>
              <a:gd name="connsiteY13" fmla="*/ 6078176 h 6164592"/>
              <a:gd name="connsiteX14" fmla="*/ 7285 w 2854520"/>
              <a:gd name="connsiteY14" fmla="*/ 5828268 h 6164592"/>
              <a:gd name="connsiteX15" fmla="*/ 7285 w 2854520"/>
              <a:gd name="connsiteY15" fmla="*/ 3915425 h 6164592"/>
              <a:gd name="connsiteX16" fmla="*/ 7285 w 2854520"/>
              <a:gd name="connsiteY16" fmla="*/ 3214749 h 6164592"/>
              <a:gd name="connsiteX17" fmla="*/ 4947 w 2854520"/>
              <a:gd name="connsiteY17" fmla="*/ 687648 h 6164592"/>
              <a:gd name="connsiteX18" fmla="*/ 2609 w 2854520"/>
              <a:gd name="connsiteY18" fmla="*/ 398035 h 6164592"/>
              <a:gd name="connsiteX19" fmla="*/ 47029 w 2854520"/>
              <a:gd name="connsiteY19" fmla="*/ 152799 h 6164592"/>
              <a:gd name="connsiteX20" fmla="*/ 234062 w 2854520"/>
              <a:gd name="connsiteY20" fmla="*/ 22006 h 6164592"/>
              <a:gd name="connsiteX21" fmla="*/ 545003 w 2854520"/>
              <a:gd name="connsiteY21" fmla="*/ 7993 h 6164592"/>
              <a:gd name="connsiteX22" fmla="*/ 615141 w 2854520"/>
              <a:gd name="connsiteY22" fmla="*/ 85067 h 6164592"/>
              <a:gd name="connsiteX23" fmla="*/ 790484 w 2854520"/>
              <a:gd name="connsiteY23" fmla="*/ 250893 h 6164592"/>
              <a:gd name="connsiteX24" fmla="*/ 2022561 w 2854520"/>
              <a:gd name="connsiteY24" fmla="*/ 250893 h 6164592"/>
              <a:gd name="connsiteX25" fmla="*/ 2195566 w 2854520"/>
              <a:gd name="connsiteY25" fmla="*/ 178490 h 6164592"/>
              <a:gd name="connsiteX26" fmla="*/ 2230634 w 2854520"/>
              <a:gd name="connsiteY26" fmla="*/ 92074 h 6164592"/>
              <a:gd name="connsiteX27" fmla="*/ 2345192 w 2854520"/>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52799 h 6164592"/>
              <a:gd name="connsiteX20" fmla="*/ 234062 w 2860975"/>
              <a:gd name="connsiteY20" fmla="*/ 22006 h 6164592"/>
              <a:gd name="connsiteX21" fmla="*/ 545003 w 2860975"/>
              <a:gd name="connsiteY21" fmla="*/ 7993 h 6164592"/>
              <a:gd name="connsiteX22" fmla="*/ 615141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52799 h 6164592"/>
              <a:gd name="connsiteX20" fmla="*/ 234062 w 2860975"/>
              <a:gd name="connsiteY20" fmla="*/ 22006 h 6164592"/>
              <a:gd name="connsiteX21" fmla="*/ 545003 w 2860975"/>
              <a:gd name="connsiteY21" fmla="*/ 7993 h 6164592"/>
              <a:gd name="connsiteX22" fmla="*/ 615141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52799 h 6164592"/>
              <a:gd name="connsiteX20" fmla="*/ 234062 w 2860975"/>
              <a:gd name="connsiteY20" fmla="*/ 22006 h 6164592"/>
              <a:gd name="connsiteX21" fmla="*/ 545003 w 2860975"/>
              <a:gd name="connsiteY21" fmla="*/ 7993 h 6164592"/>
              <a:gd name="connsiteX22" fmla="*/ 641370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52799 h 6164592"/>
              <a:gd name="connsiteX20" fmla="*/ 234062 w 2860975"/>
              <a:gd name="connsiteY20" fmla="*/ 39492 h 6164592"/>
              <a:gd name="connsiteX21" fmla="*/ 545003 w 2860975"/>
              <a:gd name="connsiteY21" fmla="*/ 7993 h 6164592"/>
              <a:gd name="connsiteX22" fmla="*/ 641370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79028 h 6164592"/>
              <a:gd name="connsiteX20" fmla="*/ 234062 w 2860975"/>
              <a:gd name="connsiteY20" fmla="*/ 39492 h 6164592"/>
              <a:gd name="connsiteX21" fmla="*/ 545003 w 2860975"/>
              <a:gd name="connsiteY21" fmla="*/ 7993 h 6164592"/>
              <a:gd name="connsiteX22" fmla="*/ 641370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79028 h 6164592"/>
              <a:gd name="connsiteX20" fmla="*/ 234062 w 2860975"/>
              <a:gd name="connsiteY20" fmla="*/ 39492 h 6164592"/>
              <a:gd name="connsiteX21" fmla="*/ 545003 w 2860975"/>
              <a:gd name="connsiteY21" fmla="*/ 21107 h 6164592"/>
              <a:gd name="connsiteX22" fmla="*/ 641370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790484 w 2860975"/>
              <a:gd name="connsiteY23" fmla="*/ 242419 h 6156118"/>
              <a:gd name="connsiteX24" fmla="*/ 2022561 w 2860975"/>
              <a:gd name="connsiteY24" fmla="*/ 242419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790484 w 2860975"/>
              <a:gd name="connsiteY23" fmla="*/ 242419 h 6156118"/>
              <a:gd name="connsiteX24" fmla="*/ 2022561 w 2860975"/>
              <a:gd name="connsiteY24" fmla="*/ 242419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790484 w 2860975"/>
              <a:gd name="connsiteY23" fmla="*/ 242419 h 6156118"/>
              <a:gd name="connsiteX24" fmla="*/ 2022561 w 2860975"/>
              <a:gd name="connsiteY24" fmla="*/ 242419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790484 w 2860975"/>
              <a:gd name="connsiteY23" fmla="*/ 242419 h 6156118"/>
              <a:gd name="connsiteX24" fmla="*/ 2022561 w 2860975"/>
              <a:gd name="connsiteY24" fmla="*/ 242419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2561 w 2860975"/>
              <a:gd name="connsiteY24" fmla="*/ 242419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60776 w 2860975"/>
              <a:gd name="connsiteY25" fmla="*/ 163057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60776 w 2860975"/>
              <a:gd name="connsiteY25" fmla="*/ 163057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60776 w 2860975"/>
              <a:gd name="connsiteY25" fmla="*/ 163057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60776 w 2860975"/>
              <a:gd name="connsiteY25" fmla="*/ 163057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60776 w 2860975"/>
              <a:gd name="connsiteY25" fmla="*/ 163057 h 6156118"/>
              <a:gd name="connsiteX26" fmla="*/ 2205413 w 2860975"/>
              <a:gd name="connsiteY26" fmla="*/ 89905 h 6156118"/>
              <a:gd name="connsiteX27" fmla="*/ 2340821 w 2860975"/>
              <a:gd name="connsiteY27" fmla="*/ 5626 h 6156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860975" h="6156118">
                <a:moveTo>
                  <a:pt x="2340821" y="5626"/>
                </a:moveTo>
                <a:cubicBezTo>
                  <a:pt x="2394593" y="10297"/>
                  <a:pt x="2455073" y="-5153"/>
                  <a:pt x="2508845" y="1854"/>
                </a:cubicBezTo>
                <a:cubicBezTo>
                  <a:pt x="2560279" y="6525"/>
                  <a:pt x="2614051" y="11197"/>
                  <a:pt x="2663147" y="27546"/>
                </a:cubicBezTo>
                <a:cubicBezTo>
                  <a:pt x="2749650" y="55573"/>
                  <a:pt x="2805759" y="116298"/>
                  <a:pt x="2829139" y="202714"/>
                </a:cubicBezTo>
                <a:cubicBezTo>
                  <a:pt x="2861869" y="317158"/>
                  <a:pt x="2864207" y="422859"/>
                  <a:pt x="2858618" y="541973"/>
                </a:cubicBezTo>
                <a:cubicBezTo>
                  <a:pt x="2851299" y="627790"/>
                  <a:pt x="2852078" y="698666"/>
                  <a:pt x="2851299" y="804396"/>
                </a:cubicBezTo>
                <a:cubicBezTo>
                  <a:pt x="2850520" y="910126"/>
                  <a:pt x="2851605" y="1050232"/>
                  <a:pt x="2853943" y="1176354"/>
                </a:cubicBezTo>
                <a:cubicBezTo>
                  <a:pt x="2856281" y="1248757"/>
                  <a:pt x="2850807" y="627352"/>
                  <a:pt x="2850180" y="1386856"/>
                </a:cubicBezTo>
                <a:cubicBezTo>
                  <a:pt x="2849553" y="2146360"/>
                  <a:pt x="2850180" y="4284537"/>
                  <a:pt x="2850180" y="5733378"/>
                </a:cubicBezTo>
                <a:cubicBezTo>
                  <a:pt x="2850180" y="5808116"/>
                  <a:pt x="2840828" y="5882855"/>
                  <a:pt x="2826801" y="5955258"/>
                </a:cubicBezTo>
                <a:cubicBezTo>
                  <a:pt x="2819787" y="5987956"/>
                  <a:pt x="2791732" y="6020654"/>
                  <a:pt x="2766015" y="6046346"/>
                </a:cubicBezTo>
                <a:cubicBezTo>
                  <a:pt x="2674837" y="6142105"/>
                  <a:pt x="2555603" y="6156118"/>
                  <a:pt x="2429356" y="6156118"/>
                </a:cubicBezTo>
                <a:lnTo>
                  <a:pt x="362647" y="6153783"/>
                </a:lnTo>
                <a:cubicBezTo>
                  <a:pt x="269130" y="6153783"/>
                  <a:pt x="177952" y="6139769"/>
                  <a:pt x="103139" y="6069702"/>
                </a:cubicBezTo>
                <a:cubicBezTo>
                  <a:pt x="33002" y="6001970"/>
                  <a:pt x="7285" y="5913218"/>
                  <a:pt x="7285" y="5819794"/>
                </a:cubicBezTo>
                <a:cubicBezTo>
                  <a:pt x="4947" y="5182180"/>
                  <a:pt x="7285" y="4544565"/>
                  <a:pt x="7285" y="3906951"/>
                </a:cubicBezTo>
                <a:lnTo>
                  <a:pt x="7285" y="3206275"/>
                </a:lnTo>
                <a:cubicBezTo>
                  <a:pt x="7285" y="2363130"/>
                  <a:pt x="7285" y="1522319"/>
                  <a:pt x="4947" y="679174"/>
                </a:cubicBezTo>
                <a:cubicBezTo>
                  <a:pt x="4947" y="583415"/>
                  <a:pt x="-4405" y="485320"/>
                  <a:pt x="2609" y="389561"/>
                </a:cubicBezTo>
                <a:cubicBezTo>
                  <a:pt x="7285" y="307816"/>
                  <a:pt x="23650" y="249964"/>
                  <a:pt x="47029" y="170554"/>
                </a:cubicBezTo>
                <a:cubicBezTo>
                  <a:pt x="75084" y="84137"/>
                  <a:pt x="151066" y="57338"/>
                  <a:pt x="234062" y="31018"/>
                </a:cubicBezTo>
                <a:cubicBezTo>
                  <a:pt x="317058" y="4698"/>
                  <a:pt x="477118" y="5037"/>
                  <a:pt x="545003" y="12633"/>
                </a:cubicBezTo>
                <a:cubicBezTo>
                  <a:pt x="612888" y="20229"/>
                  <a:pt x="636694" y="29881"/>
                  <a:pt x="641370" y="76593"/>
                </a:cubicBezTo>
                <a:cubicBezTo>
                  <a:pt x="687972" y="205752"/>
                  <a:pt x="791992" y="193111"/>
                  <a:pt x="853104" y="193715"/>
                </a:cubicBezTo>
                <a:lnTo>
                  <a:pt x="2029518" y="193715"/>
                </a:lnTo>
                <a:cubicBezTo>
                  <a:pt x="2064606" y="188605"/>
                  <a:pt x="2108420" y="181980"/>
                  <a:pt x="2160776" y="163057"/>
                </a:cubicBezTo>
                <a:cubicBezTo>
                  <a:pt x="2179479" y="137366"/>
                  <a:pt x="2200737" y="120267"/>
                  <a:pt x="2205413" y="89905"/>
                </a:cubicBezTo>
                <a:cubicBezTo>
                  <a:pt x="2217103" y="22173"/>
                  <a:pt x="2251164" y="11733"/>
                  <a:pt x="2340821" y="5626"/>
                </a:cubicBezTo>
                <a:close/>
              </a:path>
            </a:pathLst>
          </a:custGeom>
          <a:blipFill>
            <a:blip r:embed="rId5"/>
            <a:stretch>
              <a:fillRect l="-121001" r="-138446" b="-5101"/>
            </a:stretch>
          </a:blipFill>
        </p:spPr>
        <p:txBody>
          <a:bodyPr wrap="square" anchor="ctr" anchorCtr="1">
            <a:noAutofit/>
          </a:bodyPr>
          <a:lstStyle>
            <a:lvl1pPr marL="0" indent="0">
              <a:buNone/>
              <a:defRPr/>
            </a:lvl1pPr>
          </a:lstStyle>
          <a:p>
            <a:endParaRPr lang="en-US"/>
          </a:p>
        </p:txBody>
      </p:sp>
      <p:sp>
        <p:nvSpPr>
          <p:cNvPr id="62" name="Picture Placeholder 3">
            <a:extLst>
              <a:ext uri="{FF2B5EF4-FFF2-40B4-BE49-F238E27FC236}">
                <a16:creationId xmlns:a16="http://schemas.microsoft.com/office/drawing/2014/main" id="{9BEBD489-947D-2845-B0BC-6B64FED5BB7D}"/>
              </a:ext>
            </a:extLst>
          </p:cNvPr>
          <p:cNvSpPr>
            <a:spLocks noGrp="1" noChangeAspect="1"/>
          </p:cNvSpPr>
          <p:nvPr>
            <p:ph type="pic" sz="quarter" idx="14"/>
          </p:nvPr>
        </p:nvSpPr>
        <p:spPr>
          <a:xfrm>
            <a:off x="10382261" y="5497154"/>
            <a:ext cx="1440599" cy="3099816"/>
          </a:xfrm>
          <a:custGeom>
            <a:avLst/>
            <a:gdLst>
              <a:gd name="connsiteX0" fmla="*/ 2345192 w 2857253"/>
              <a:gd name="connsiteY0" fmla="*/ 986 h 6164592"/>
              <a:gd name="connsiteX1" fmla="*/ 2508845 w 2857253"/>
              <a:gd name="connsiteY1" fmla="*/ 10328 h 6164592"/>
              <a:gd name="connsiteX2" fmla="*/ 2663147 w 2857253"/>
              <a:gd name="connsiteY2" fmla="*/ 36020 h 6164592"/>
              <a:gd name="connsiteX3" fmla="*/ 2829139 w 2857253"/>
              <a:gd name="connsiteY3" fmla="*/ 211188 h 6164592"/>
              <a:gd name="connsiteX4" fmla="*/ 2845504 w 2857253"/>
              <a:gd name="connsiteY4" fmla="*/ 559190 h 6164592"/>
              <a:gd name="connsiteX5" fmla="*/ 2833814 w 2857253"/>
              <a:gd name="connsiteY5" fmla="*/ 799756 h 6164592"/>
              <a:gd name="connsiteX6" fmla="*/ 2840828 w 2857253"/>
              <a:gd name="connsiteY6" fmla="*/ 1180456 h 6164592"/>
              <a:gd name="connsiteX7" fmla="*/ 2850180 w 2857253"/>
              <a:gd name="connsiteY7" fmla="*/ 1395330 h 6164592"/>
              <a:gd name="connsiteX8" fmla="*/ 2850180 w 2857253"/>
              <a:gd name="connsiteY8" fmla="*/ 5741852 h 6164592"/>
              <a:gd name="connsiteX9" fmla="*/ 2826801 w 2857253"/>
              <a:gd name="connsiteY9" fmla="*/ 5963732 h 6164592"/>
              <a:gd name="connsiteX10" fmla="*/ 2766015 w 2857253"/>
              <a:gd name="connsiteY10" fmla="*/ 6054820 h 6164592"/>
              <a:gd name="connsiteX11" fmla="*/ 2429356 w 2857253"/>
              <a:gd name="connsiteY11" fmla="*/ 6164592 h 6164592"/>
              <a:gd name="connsiteX12" fmla="*/ 362647 w 2857253"/>
              <a:gd name="connsiteY12" fmla="*/ 6162257 h 6164592"/>
              <a:gd name="connsiteX13" fmla="*/ 103139 w 2857253"/>
              <a:gd name="connsiteY13" fmla="*/ 6078176 h 6164592"/>
              <a:gd name="connsiteX14" fmla="*/ 7285 w 2857253"/>
              <a:gd name="connsiteY14" fmla="*/ 5828268 h 6164592"/>
              <a:gd name="connsiteX15" fmla="*/ 7285 w 2857253"/>
              <a:gd name="connsiteY15" fmla="*/ 3915425 h 6164592"/>
              <a:gd name="connsiteX16" fmla="*/ 7285 w 2857253"/>
              <a:gd name="connsiteY16" fmla="*/ 3214749 h 6164592"/>
              <a:gd name="connsiteX17" fmla="*/ 4947 w 2857253"/>
              <a:gd name="connsiteY17" fmla="*/ 687648 h 6164592"/>
              <a:gd name="connsiteX18" fmla="*/ 2609 w 2857253"/>
              <a:gd name="connsiteY18" fmla="*/ 398035 h 6164592"/>
              <a:gd name="connsiteX19" fmla="*/ 47029 w 2857253"/>
              <a:gd name="connsiteY19" fmla="*/ 152799 h 6164592"/>
              <a:gd name="connsiteX20" fmla="*/ 234062 w 2857253"/>
              <a:gd name="connsiteY20" fmla="*/ 22006 h 6164592"/>
              <a:gd name="connsiteX21" fmla="*/ 545003 w 2857253"/>
              <a:gd name="connsiteY21" fmla="*/ 7993 h 6164592"/>
              <a:gd name="connsiteX22" fmla="*/ 615141 w 2857253"/>
              <a:gd name="connsiteY22" fmla="*/ 85067 h 6164592"/>
              <a:gd name="connsiteX23" fmla="*/ 790484 w 2857253"/>
              <a:gd name="connsiteY23" fmla="*/ 250893 h 6164592"/>
              <a:gd name="connsiteX24" fmla="*/ 2022561 w 2857253"/>
              <a:gd name="connsiteY24" fmla="*/ 250893 h 6164592"/>
              <a:gd name="connsiteX25" fmla="*/ 2195566 w 2857253"/>
              <a:gd name="connsiteY25" fmla="*/ 178490 h 6164592"/>
              <a:gd name="connsiteX26" fmla="*/ 2230634 w 2857253"/>
              <a:gd name="connsiteY26" fmla="*/ 92074 h 6164592"/>
              <a:gd name="connsiteX27" fmla="*/ 2345192 w 2857253"/>
              <a:gd name="connsiteY27" fmla="*/ 986 h 6164592"/>
              <a:gd name="connsiteX0" fmla="*/ 2345192 w 2857253"/>
              <a:gd name="connsiteY0" fmla="*/ 986 h 6164592"/>
              <a:gd name="connsiteX1" fmla="*/ 2508845 w 2857253"/>
              <a:gd name="connsiteY1" fmla="*/ 10328 h 6164592"/>
              <a:gd name="connsiteX2" fmla="*/ 2663147 w 2857253"/>
              <a:gd name="connsiteY2" fmla="*/ 36020 h 6164592"/>
              <a:gd name="connsiteX3" fmla="*/ 2829139 w 2857253"/>
              <a:gd name="connsiteY3" fmla="*/ 211188 h 6164592"/>
              <a:gd name="connsiteX4" fmla="*/ 2845504 w 2857253"/>
              <a:gd name="connsiteY4" fmla="*/ 554819 h 6164592"/>
              <a:gd name="connsiteX5" fmla="*/ 2833814 w 2857253"/>
              <a:gd name="connsiteY5" fmla="*/ 799756 h 6164592"/>
              <a:gd name="connsiteX6" fmla="*/ 2840828 w 2857253"/>
              <a:gd name="connsiteY6" fmla="*/ 1180456 h 6164592"/>
              <a:gd name="connsiteX7" fmla="*/ 2850180 w 2857253"/>
              <a:gd name="connsiteY7" fmla="*/ 1395330 h 6164592"/>
              <a:gd name="connsiteX8" fmla="*/ 2850180 w 2857253"/>
              <a:gd name="connsiteY8" fmla="*/ 5741852 h 6164592"/>
              <a:gd name="connsiteX9" fmla="*/ 2826801 w 2857253"/>
              <a:gd name="connsiteY9" fmla="*/ 5963732 h 6164592"/>
              <a:gd name="connsiteX10" fmla="*/ 2766015 w 2857253"/>
              <a:gd name="connsiteY10" fmla="*/ 6054820 h 6164592"/>
              <a:gd name="connsiteX11" fmla="*/ 2429356 w 2857253"/>
              <a:gd name="connsiteY11" fmla="*/ 6164592 h 6164592"/>
              <a:gd name="connsiteX12" fmla="*/ 362647 w 2857253"/>
              <a:gd name="connsiteY12" fmla="*/ 6162257 h 6164592"/>
              <a:gd name="connsiteX13" fmla="*/ 103139 w 2857253"/>
              <a:gd name="connsiteY13" fmla="*/ 6078176 h 6164592"/>
              <a:gd name="connsiteX14" fmla="*/ 7285 w 2857253"/>
              <a:gd name="connsiteY14" fmla="*/ 5828268 h 6164592"/>
              <a:gd name="connsiteX15" fmla="*/ 7285 w 2857253"/>
              <a:gd name="connsiteY15" fmla="*/ 3915425 h 6164592"/>
              <a:gd name="connsiteX16" fmla="*/ 7285 w 2857253"/>
              <a:gd name="connsiteY16" fmla="*/ 3214749 h 6164592"/>
              <a:gd name="connsiteX17" fmla="*/ 4947 w 2857253"/>
              <a:gd name="connsiteY17" fmla="*/ 687648 h 6164592"/>
              <a:gd name="connsiteX18" fmla="*/ 2609 w 2857253"/>
              <a:gd name="connsiteY18" fmla="*/ 398035 h 6164592"/>
              <a:gd name="connsiteX19" fmla="*/ 47029 w 2857253"/>
              <a:gd name="connsiteY19" fmla="*/ 152799 h 6164592"/>
              <a:gd name="connsiteX20" fmla="*/ 234062 w 2857253"/>
              <a:gd name="connsiteY20" fmla="*/ 22006 h 6164592"/>
              <a:gd name="connsiteX21" fmla="*/ 545003 w 2857253"/>
              <a:gd name="connsiteY21" fmla="*/ 7993 h 6164592"/>
              <a:gd name="connsiteX22" fmla="*/ 615141 w 2857253"/>
              <a:gd name="connsiteY22" fmla="*/ 85067 h 6164592"/>
              <a:gd name="connsiteX23" fmla="*/ 790484 w 2857253"/>
              <a:gd name="connsiteY23" fmla="*/ 250893 h 6164592"/>
              <a:gd name="connsiteX24" fmla="*/ 2022561 w 2857253"/>
              <a:gd name="connsiteY24" fmla="*/ 250893 h 6164592"/>
              <a:gd name="connsiteX25" fmla="*/ 2195566 w 2857253"/>
              <a:gd name="connsiteY25" fmla="*/ 178490 h 6164592"/>
              <a:gd name="connsiteX26" fmla="*/ 2230634 w 2857253"/>
              <a:gd name="connsiteY26" fmla="*/ 92074 h 6164592"/>
              <a:gd name="connsiteX27" fmla="*/ 2345192 w 2857253"/>
              <a:gd name="connsiteY27" fmla="*/ 986 h 6164592"/>
              <a:gd name="connsiteX0" fmla="*/ 2345192 w 2857253"/>
              <a:gd name="connsiteY0" fmla="*/ 986 h 6164592"/>
              <a:gd name="connsiteX1" fmla="*/ 2508845 w 2857253"/>
              <a:gd name="connsiteY1" fmla="*/ 10328 h 6164592"/>
              <a:gd name="connsiteX2" fmla="*/ 2663147 w 2857253"/>
              <a:gd name="connsiteY2" fmla="*/ 36020 h 6164592"/>
              <a:gd name="connsiteX3" fmla="*/ 2829139 w 2857253"/>
              <a:gd name="connsiteY3" fmla="*/ 211188 h 6164592"/>
              <a:gd name="connsiteX4" fmla="*/ 2845504 w 2857253"/>
              <a:gd name="connsiteY4" fmla="*/ 554819 h 6164592"/>
              <a:gd name="connsiteX5" fmla="*/ 2851299 w 2857253"/>
              <a:gd name="connsiteY5" fmla="*/ 812870 h 6164592"/>
              <a:gd name="connsiteX6" fmla="*/ 2840828 w 2857253"/>
              <a:gd name="connsiteY6" fmla="*/ 1180456 h 6164592"/>
              <a:gd name="connsiteX7" fmla="*/ 2850180 w 2857253"/>
              <a:gd name="connsiteY7" fmla="*/ 1395330 h 6164592"/>
              <a:gd name="connsiteX8" fmla="*/ 2850180 w 2857253"/>
              <a:gd name="connsiteY8" fmla="*/ 5741852 h 6164592"/>
              <a:gd name="connsiteX9" fmla="*/ 2826801 w 2857253"/>
              <a:gd name="connsiteY9" fmla="*/ 5963732 h 6164592"/>
              <a:gd name="connsiteX10" fmla="*/ 2766015 w 2857253"/>
              <a:gd name="connsiteY10" fmla="*/ 6054820 h 6164592"/>
              <a:gd name="connsiteX11" fmla="*/ 2429356 w 2857253"/>
              <a:gd name="connsiteY11" fmla="*/ 6164592 h 6164592"/>
              <a:gd name="connsiteX12" fmla="*/ 362647 w 2857253"/>
              <a:gd name="connsiteY12" fmla="*/ 6162257 h 6164592"/>
              <a:gd name="connsiteX13" fmla="*/ 103139 w 2857253"/>
              <a:gd name="connsiteY13" fmla="*/ 6078176 h 6164592"/>
              <a:gd name="connsiteX14" fmla="*/ 7285 w 2857253"/>
              <a:gd name="connsiteY14" fmla="*/ 5828268 h 6164592"/>
              <a:gd name="connsiteX15" fmla="*/ 7285 w 2857253"/>
              <a:gd name="connsiteY15" fmla="*/ 3915425 h 6164592"/>
              <a:gd name="connsiteX16" fmla="*/ 7285 w 2857253"/>
              <a:gd name="connsiteY16" fmla="*/ 3214749 h 6164592"/>
              <a:gd name="connsiteX17" fmla="*/ 4947 w 2857253"/>
              <a:gd name="connsiteY17" fmla="*/ 687648 h 6164592"/>
              <a:gd name="connsiteX18" fmla="*/ 2609 w 2857253"/>
              <a:gd name="connsiteY18" fmla="*/ 398035 h 6164592"/>
              <a:gd name="connsiteX19" fmla="*/ 47029 w 2857253"/>
              <a:gd name="connsiteY19" fmla="*/ 152799 h 6164592"/>
              <a:gd name="connsiteX20" fmla="*/ 234062 w 2857253"/>
              <a:gd name="connsiteY20" fmla="*/ 22006 h 6164592"/>
              <a:gd name="connsiteX21" fmla="*/ 545003 w 2857253"/>
              <a:gd name="connsiteY21" fmla="*/ 7993 h 6164592"/>
              <a:gd name="connsiteX22" fmla="*/ 615141 w 2857253"/>
              <a:gd name="connsiteY22" fmla="*/ 85067 h 6164592"/>
              <a:gd name="connsiteX23" fmla="*/ 790484 w 2857253"/>
              <a:gd name="connsiteY23" fmla="*/ 250893 h 6164592"/>
              <a:gd name="connsiteX24" fmla="*/ 2022561 w 2857253"/>
              <a:gd name="connsiteY24" fmla="*/ 250893 h 6164592"/>
              <a:gd name="connsiteX25" fmla="*/ 2195566 w 2857253"/>
              <a:gd name="connsiteY25" fmla="*/ 178490 h 6164592"/>
              <a:gd name="connsiteX26" fmla="*/ 2230634 w 2857253"/>
              <a:gd name="connsiteY26" fmla="*/ 92074 h 6164592"/>
              <a:gd name="connsiteX27" fmla="*/ 2345192 w 2857253"/>
              <a:gd name="connsiteY27" fmla="*/ 986 h 6164592"/>
              <a:gd name="connsiteX0" fmla="*/ 2345192 w 2857253"/>
              <a:gd name="connsiteY0" fmla="*/ 986 h 6164592"/>
              <a:gd name="connsiteX1" fmla="*/ 2508845 w 2857253"/>
              <a:gd name="connsiteY1" fmla="*/ 10328 h 6164592"/>
              <a:gd name="connsiteX2" fmla="*/ 2663147 w 2857253"/>
              <a:gd name="connsiteY2" fmla="*/ 36020 h 6164592"/>
              <a:gd name="connsiteX3" fmla="*/ 2829139 w 2857253"/>
              <a:gd name="connsiteY3" fmla="*/ 211188 h 6164592"/>
              <a:gd name="connsiteX4" fmla="*/ 2845504 w 2857253"/>
              <a:gd name="connsiteY4" fmla="*/ 554819 h 6164592"/>
              <a:gd name="connsiteX5" fmla="*/ 2851299 w 2857253"/>
              <a:gd name="connsiteY5" fmla="*/ 812870 h 6164592"/>
              <a:gd name="connsiteX6" fmla="*/ 2853943 w 2857253"/>
              <a:gd name="connsiteY6" fmla="*/ 1184828 h 6164592"/>
              <a:gd name="connsiteX7" fmla="*/ 2850180 w 2857253"/>
              <a:gd name="connsiteY7" fmla="*/ 1395330 h 6164592"/>
              <a:gd name="connsiteX8" fmla="*/ 2850180 w 2857253"/>
              <a:gd name="connsiteY8" fmla="*/ 5741852 h 6164592"/>
              <a:gd name="connsiteX9" fmla="*/ 2826801 w 2857253"/>
              <a:gd name="connsiteY9" fmla="*/ 5963732 h 6164592"/>
              <a:gd name="connsiteX10" fmla="*/ 2766015 w 2857253"/>
              <a:gd name="connsiteY10" fmla="*/ 6054820 h 6164592"/>
              <a:gd name="connsiteX11" fmla="*/ 2429356 w 2857253"/>
              <a:gd name="connsiteY11" fmla="*/ 6164592 h 6164592"/>
              <a:gd name="connsiteX12" fmla="*/ 362647 w 2857253"/>
              <a:gd name="connsiteY12" fmla="*/ 6162257 h 6164592"/>
              <a:gd name="connsiteX13" fmla="*/ 103139 w 2857253"/>
              <a:gd name="connsiteY13" fmla="*/ 6078176 h 6164592"/>
              <a:gd name="connsiteX14" fmla="*/ 7285 w 2857253"/>
              <a:gd name="connsiteY14" fmla="*/ 5828268 h 6164592"/>
              <a:gd name="connsiteX15" fmla="*/ 7285 w 2857253"/>
              <a:gd name="connsiteY15" fmla="*/ 3915425 h 6164592"/>
              <a:gd name="connsiteX16" fmla="*/ 7285 w 2857253"/>
              <a:gd name="connsiteY16" fmla="*/ 3214749 h 6164592"/>
              <a:gd name="connsiteX17" fmla="*/ 4947 w 2857253"/>
              <a:gd name="connsiteY17" fmla="*/ 687648 h 6164592"/>
              <a:gd name="connsiteX18" fmla="*/ 2609 w 2857253"/>
              <a:gd name="connsiteY18" fmla="*/ 398035 h 6164592"/>
              <a:gd name="connsiteX19" fmla="*/ 47029 w 2857253"/>
              <a:gd name="connsiteY19" fmla="*/ 152799 h 6164592"/>
              <a:gd name="connsiteX20" fmla="*/ 234062 w 2857253"/>
              <a:gd name="connsiteY20" fmla="*/ 22006 h 6164592"/>
              <a:gd name="connsiteX21" fmla="*/ 545003 w 2857253"/>
              <a:gd name="connsiteY21" fmla="*/ 7993 h 6164592"/>
              <a:gd name="connsiteX22" fmla="*/ 615141 w 2857253"/>
              <a:gd name="connsiteY22" fmla="*/ 85067 h 6164592"/>
              <a:gd name="connsiteX23" fmla="*/ 790484 w 2857253"/>
              <a:gd name="connsiteY23" fmla="*/ 250893 h 6164592"/>
              <a:gd name="connsiteX24" fmla="*/ 2022561 w 2857253"/>
              <a:gd name="connsiteY24" fmla="*/ 250893 h 6164592"/>
              <a:gd name="connsiteX25" fmla="*/ 2195566 w 2857253"/>
              <a:gd name="connsiteY25" fmla="*/ 178490 h 6164592"/>
              <a:gd name="connsiteX26" fmla="*/ 2230634 w 2857253"/>
              <a:gd name="connsiteY26" fmla="*/ 92074 h 6164592"/>
              <a:gd name="connsiteX27" fmla="*/ 2345192 w 2857253"/>
              <a:gd name="connsiteY27" fmla="*/ 986 h 6164592"/>
              <a:gd name="connsiteX0" fmla="*/ 2345192 w 2860168"/>
              <a:gd name="connsiteY0" fmla="*/ 986 h 6164592"/>
              <a:gd name="connsiteX1" fmla="*/ 2508845 w 2860168"/>
              <a:gd name="connsiteY1" fmla="*/ 10328 h 6164592"/>
              <a:gd name="connsiteX2" fmla="*/ 2663147 w 2860168"/>
              <a:gd name="connsiteY2" fmla="*/ 36020 h 6164592"/>
              <a:gd name="connsiteX3" fmla="*/ 2829139 w 2860168"/>
              <a:gd name="connsiteY3" fmla="*/ 211188 h 6164592"/>
              <a:gd name="connsiteX4" fmla="*/ 2849875 w 2860168"/>
              <a:gd name="connsiteY4" fmla="*/ 554819 h 6164592"/>
              <a:gd name="connsiteX5" fmla="*/ 2851299 w 2860168"/>
              <a:gd name="connsiteY5" fmla="*/ 812870 h 6164592"/>
              <a:gd name="connsiteX6" fmla="*/ 2853943 w 2860168"/>
              <a:gd name="connsiteY6" fmla="*/ 1184828 h 6164592"/>
              <a:gd name="connsiteX7" fmla="*/ 2850180 w 2860168"/>
              <a:gd name="connsiteY7" fmla="*/ 1395330 h 6164592"/>
              <a:gd name="connsiteX8" fmla="*/ 2850180 w 2860168"/>
              <a:gd name="connsiteY8" fmla="*/ 5741852 h 6164592"/>
              <a:gd name="connsiteX9" fmla="*/ 2826801 w 2860168"/>
              <a:gd name="connsiteY9" fmla="*/ 5963732 h 6164592"/>
              <a:gd name="connsiteX10" fmla="*/ 2766015 w 2860168"/>
              <a:gd name="connsiteY10" fmla="*/ 6054820 h 6164592"/>
              <a:gd name="connsiteX11" fmla="*/ 2429356 w 2860168"/>
              <a:gd name="connsiteY11" fmla="*/ 6164592 h 6164592"/>
              <a:gd name="connsiteX12" fmla="*/ 362647 w 2860168"/>
              <a:gd name="connsiteY12" fmla="*/ 6162257 h 6164592"/>
              <a:gd name="connsiteX13" fmla="*/ 103139 w 2860168"/>
              <a:gd name="connsiteY13" fmla="*/ 6078176 h 6164592"/>
              <a:gd name="connsiteX14" fmla="*/ 7285 w 2860168"/>
              <a:gd name="connsiteY14" fmla="*/ 5828268 h 6164592"/>
              <a:gd name="connsiteX15" fmla="*/ 7285 w 2860168"/>
              <a:gd name="connsiteY15" fmla="*/ 3915425 h 6164592"/>
              <a:gd name="connsiteX16" fmla="*/ 7285 w 2860168"/>
              <a:gd name="connsiteY16" fmla="*/ 3214749 h 6164592"/>
              <a:gd name="connsiteX17" fmla="*/ 4947 w 2860168"/>
              <a:gd name="connsiteY17" fmla="*/ 687648 h 6164592"/>
              <a:gd name="connsiteX18" fmla="*/ 2609 w 2860168"/>
              <a:gd name="connsiteY18" fmla="*/ 398035 h 6164592"/>
              <a:gd name="connsiteX19" fmla="*/ 47029 w 2860168"/>
              <a:gd name="connsiteY19" fmla="*/ 152799 h 6164592"/>
              <a:gd name="connsiteX20" fmla="*/ 234062 w 2860168"/>
              <a:gd name="connsiteY20" fmla="*/ 22006 h 6164592"/>
              <a:gd name="connsiteX21" fmla="*/ 545003 w 2860168"/>
              <a:gd name="connsiteY21" fmla="*/ 7993 h 6164592"/>
              <a:gd name="connsiteX22" fmla="*/ 615141 w 2860168"/>
              <a:gd name="connsiteY22" fmla="*/ 85067 h 6164592"/>
              <a:gd name="connsiteX23" fmla="*/ 790484 w 2860168"/>
              <a:gd name="connsiteY23" fmla="*/ 250893 h 6164592"/>
              <a:gd name="connsiteX24" fmla="*/ 2022561 w 2860168"/>
              <a:gd name="connsiteY24" fmla="*/ 250893 h 6164592"/>
              <a:gd name="connsiteX25" fmla="*/ 2195566 w 2860168"/>
              <a:gd name="connsiteY25" fmla="*/ 178490 h 6164592"/>
              <a:gd name="connsiteX26" fmla="*/ 2230634 w 2860168"/>
              <a:gd name="connsiteY26" fmla="*/ 92074 h 6164592"/>
              <a:gd name="connsiteX27" fmla="*/ 2345192 w 2860168"/>
              <a:gd name="connsiteY27" fmla="*/ 986 h 6164592"/>
              <a:gd name="connsiteX0" fmla="*/ 2345192 w 2854520"/>
              <a:gd name="connsiteY0" fmla="*/ 986 h 6164592"/>
              <a:gd name="connsiteX1" fmla="*/ 2508845 w 2854520"/>
              <a:gd name="connsiteY1" fmla="*/ 10328 h 6164592"/>
              <a:gd name="connsiteX2" fmla="*/ 2663147 w 2854520"/>
              <a:gd name="connsiteY2" fmla="*/ 36020 h 6164592"/>
              <a:gd name="connsiteX3" fmla="*/ 2829139 w 2854520"/>
              <a:gd name="connsiteY3" fmla="*/ 211188 h 6164592"/>
              <a:gd name="connsiteX4" fmla="*/ 2849875 w 2854520"/>
              <a:gd name="connsiteY4" fmla="*/ 554819 h 6164592"/>
              <a:gd name="connsiteX5" fmla="*/ 2851299 w 2854520"/>
              <a:gd name="connsiteY5" fmla="*/ 812870 h 6164592"/>
              <a:gd name="connsiteX6" fmla="*/ 2853943 w 2854520"/>
              <a:gd name="connsiteY6" fmla="*/ 1184828 h 6164592"/>
              <a:gd name="connsiteX7" fmla="*/ 2850180 w 2854520"/>
              <a:gd name="connsiteY7" fmla="*/ 1395330 h 6164592"/>
              <a:gd name="connsiteX8" fmla="*/ 2850180 w 2854520"/>
              <a:gd name="connsiteY8" fmla="*/ 5741852 h 6164592"/>
              <a:gd name="connsiteX9" fmla="*/ 2826801 w 2854520"/>
              <a:gd name="connsiteY9" fmla="*/ 5963732 h 6164592"/>
              <a:gd name="connsiteX10" fmla="*/ 2766015 w 2854520"/>
              <a:gd name="connsiteY10" fmla="*/ 6054820 h 6164592"/>
              <a:gd name="connsiteX11" fmla="*/ 2429356 w 2854520"/>
              <a:gd name="connsiteY11" fmla="*/ 6164592 h 6164592"/>
              <a:gd name="connsiteX12" fmla="*/ 362647 w 2854520"/>
              <a:gd name="connsiteY12" fmla="*/ 6162257 h 6164592"/>
              <a:gd name="connsiteX13" fmla="*/ 103139 w 2854520"/>
              <a:gd name="connsiteY13" fmla="*/ 6078176 h 6164592"/>
              <a:gd name="connsiteX14" fmla="*/ 7285 w 2854520"/>
              <a:gd name="connsiteY14" fmla="*/ 5828268 h 6164592"/>
              <a:gd name="connsiteX15" fmla="*/ 7285 w 2854520"/>
              <a:gd name="connsiteY15" fmla="*/ 3915425 h 6164592"/>
              <a:gd name="connsiteX16" fmla="*/ 7285 w 2854520"/>
              <a:gd name="connsiteY16" fmla="*/ 3214749 h 6164592"/>
              <a:gd name="connsiteX17" fmla="*/ 4947 w 2854520"/>
              <a:gd name="connsiteY17" fmla="*/ 687648 h 6164592"/>
              <a:gd name="connsiteX18" fmla="*/ 2609 w 2854520"/>
              <a:gd name="connsiteY18" fmla="*/ 398035 h 6164592"/>
              <a:gd name="connsiteX19" fmla="*/ 47029 w 2854520"/>
              <a:gd name="connsiteY19" fmla="*/ 152799 h 6164592"/>
              <a:gd name="connsiteX20" fmla="*/ 234062 w 2854520"/>
              <a:gd name="connsiteY20" fmla="*/ 22006 h 6164592"/>
              <a:gd name="connsiteX21" fmla="*/ 545003 w 2854520"/>
              <a:gd name="connsiteY21" fmla="*/ 7993 h 6164592"/>
              <a:gd name="connsiteX22" fmla="*/ 615141 w 2854520"/>
              <a:gd name="connsiteY22" fmla="*/ 85067 h 6164592"/>
              <a:gd name="connsiteX23" fmla="*/ 790484 w 2854520"/>
              <a:gd name="connsiteY23" fmla="*/ 250893 h 6164592"/>
              <a:gd name="connsiteX24" fmla="*/ 2022561 w 2854520"/>
              <a:gd name="connsiteY24" fmla="*/ 250893 h 6164592"/>
              <a:gd name="connsiteX25" fmla="*/ 2195566 w 2854520"/>
              <a:gd name="connsiteY25" fmla="*/ 178490 h 6164592"/>
              <a:gd name="connsiteX26" fmla="*/ 2230634 w 2854520"/>
              <a:gd name="connsiteY26" fmla="*/ 92074 h 6164592"/>
              <a:gd name="connsiteX27" fmla="*/ 2345192 w 2854520"/>
              <a:gd name="connsiteY27" fmla="*/ 986 h 6164592"/>
              <a:gd name="connsiteX0" fmla="*/ 2345192 w 2854520"/>
              <a:gd name="connsiteY0" fmla="*/ 986 h 6164592"/>
              <a:gd name="connsiteX1" fmla="*/ 2508845 w 2854520"/>
              <a:gd name="connsiteY1" fmla="*/ 10328 h 6164592"/>
              <a:gd name="connsiteX2" fmla="*/ 2663147 w 2854520"/>
              <a:gd name="connsiteY2" fmla="*/ 36020 h 6164592"/>
              <a:gd name="connsiteX3" fmla="*/ 2829139 w 2854520"/>
              <a:gd name="connsiteY3" fmla="*/ 211188 h 6164592"/>
              <a:gd name="connsiteX4" fmla="*/ 2849875 w 2854520"/>
              <a:gd name="connsiteY4" fmla="*/ 554819 h 6164592"/>
              <a:gd name="connsiteX5" fmla="*/ 2851299 w 2854520"/>
              <a:gd name="connsiteY5" fmla="*/ 812870 h 6164592"/>
              <a:gd name="connsiteX6" fmla="*/ 2853943 w 2854520"/>
              <a:gd name="connsiteY6" fmla="*/ 1184828 h 6164592"/>
              <a:gd name="connsiteX7" fmla="*/ 2850180 w 2854520"/>
              <a:gd name="connsiteY7" fmla="*/ 1395330 h 6164592"/>
              <a:gd name="connsiteX8" fmla="*/ 2850180 w 2854520"/>
              <a:gd name="connsiteY8" fmla="*/ 5741852 h 6164592"/>
              <a:gd name="connsiteX9" fmla="*/ 2826801 w 2854520"/>
              <a:gd name="connsiteY9" fmla="*/ 5963732 h 6164592"/>
              <a:gd name="connsiteX10" fmla="*/ 2766015 w 2854520"/>
              <a:gd name="connsiteY10" fmla="*/ 6054820 h 6164592"/>
              <a:gd name="connsiteX11" fmla="*/ 2429356 w 2854520"/>
              <a:gd name="connsiteY11" fmla="*/ 6164592 h 6164592"/>
              <a:gd name="connsiteX12" fmla="*/ 362647 w 2854520"/>
              <a:gd name="connsiteY12" fmla="*/ 6162257 h 6164592"/>
              <a:gd name="connsiteX13" fmla="*/ 103139 w 2854520"/>
              <a:gd name="connsiteY13" fmla="*/ 6078176 h 6164592"/>
              <a:gd name="connsiteX14" fmla="*/ 7285 w 2854520"/>
              <a:gd name="connsiteY14" fmla="*/ 5828268 h 6164592"/>
              <a:gd name="connsiteX15" fmla="*/ 7285 w 2854520"/>
              <a:gd name="connsiteY15" fmla="*/ 3915425 h 6164592"/>
              <a:gd name="connsiteX16" fmla="*/ 7285 w 2854520"/>
              <a:gd name="connsiteY16" fmla="*/ 3214749 h 6164592"/>
              <a:gd name="connsiteX17" fmla="*/ 4947 w 2854520"/>
              <a:gd name="connsiteY17" fmla="*/ 687648 h 6164592"/>
              <a:gd name="connsiteX18" fmla="*/ 2609 w 2854520"/>
              <a:gd name="connsiteY18" fmla="*/ 398035 h 6164592"/>
              <a:gd name="connsiteX19" fmla="*/ 47029 w 2854520"/>
              <a:gd name="connsiteY19" fmla="*/ 152799 h 6164592"/>
              <a:gd name="connsiteX20" fmla="*/ 234062 w 2854520"/>
              <a:gd name="connsiteY20" fmla="*/ 22006 h 6164592"/>
              <a:gd name="connsiteX21" fmla="*/ 545003 w 2854520"/>
              <a:gd name="connsiteY21" fmla="*/ 7993 h 6164592"/>
              <a:gd name="connsiteX22" fmla="*/ 615141 w 2854520"/>
              <a:gd name="connsiteY22" fmla="*/ 85067 h 6164592"/>
              <a:gd name="connsiteX23" fmla="*/ 790484 w 2854520"/>
              <a:gd name="connsiteY23" fmla="*/ 250893 h 6164592"/>
              <a:gd name="connsiteX24" fmla="*/ 2022561 w 2854520"/>
              <a:gd name="connsiteY24" fmla="*/ 250893 h 6164592"/>
              <a:gd name="connsiteX25" fmla="*/ 2195566 w 2854520"/>
              <a:gd name="connsiteY25" fmla="*/ 178490 h 6164592"/>
              <a:gd name="connsiteX26" fmla="*/ 2230634 w 2854520"/>
              <a:gd name="connsiteY26" fmla="*/ 92074 h 6164592"/>
              <a:gd name="connsiteX27" fmla="*/ 2345192 w 2854520"/>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52799 h 6164592"/>
              <a:gd name="connsiteX20" fmla="*/ 234062 w 2860975"/>
              <a:gd name="connsiteY20" fmla="*/ 22006 h 6164592"/>
              <a:gd name="connsiteX21" fmla="*/ 545003 w 2860975"/>
              <a:gd name="connsiteY21" fmla="*/ 7993 h 6164592"/>
              <a:gd name="connsiteX22" fmla="*/ 615141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52799 h 6164592"/>
              <a:gd name="connsiteX20" fmla="*/ 234062 w 2860975"/>
              <a:gd name="connsiteY20" fmla="*/ 22006 h 6164592"/>
              <a:gd name="connsiteX21" fmla="*/ 545003 w 2860975"/>
              <a:gd name="connsiteY21" fmla="*/ 7993 h 6164592"/>
              <a:gd name="connsiteX22" fmla="*/ 615141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52799 h 6164592"/>
              <a:gd name="connsiteX20" fmla="*/ 234062 w 2860975"/>
              <a:gd name="connsiteY20" fmla="*/ 22006 h 6164592"/>
              <a:gd name="connsiteX21" fmla="*/ 545003 w 2860975"/>
              <a:gd name="connsiteY21" fmla="*/ 7993 h 6164592"/>
              <a:gd name="connsiteX22" fmla="*/ 641370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52799 h 6164592"/>
              <a:gd name="connsiteX20" fmla="*/ 234062 w 2860975"/>
              <a:gd name="connsiteY20" fmla="*/ 39492 h 6164592"/>
              <a:gd name="connsiteX21" fmla="*/ 545003 w 2860975"/>
              <a:gd name="connsiteY21" fmla="*/ 7993 h 6164592"/>
              <a:gd name="connsiteX22" fmla="*/ 641370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79028 h 6164592"/>
              <a:gd name="connsiteX20" fmla="*/ 234062 w 2860975"/>
              <a:gd name="connsiteY20" fmla="*/ 39492 h 6164592"/>
              <a:gd name="connsiteX21" fmla="*/ 545003 w 2860975"/>
              <a:gd name="connsiteY21" fmla="*/ 7993 h 6164592"/>
              <a:gd name="connsiteX22" fmla="*/ 641370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79028 h 6164592"/>
              <a:gd name="connsiteX20" fmla="*/ 234062 w 2860975"/>
              <a:gd name="connsiteY20" fmla="*/ 39492 h 6164592"/>
              <a:gd name="connsiteX21" fmla="*/ 545003 w 2860975"/>
              <a:gd name="connsiteY21" fmla="*/ 21107 h 6164592"/>
              <a:gd name="connsiteX22" fmla="*/ 641370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790484 w 2860975"/>
              <a:gd name="connsiteY23" fmla="*/ 242419 h 6156118"/>
              <a:gd name="connsiteX24" fmla="*/ 2022561 w 2860975"/>
              <a:gd name="connsiteY24" fmla="*/ 242419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790484 w 2860975"/>
              <a:gd name="connsiteY23" fmla="*/ 242419 h 6156118"/>
              <a:gd name="connsiteX24" fmla="*/ 2022561 w 2860975"/>
              <a:gd name="connsiteY24" fmla="*/ 242419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790484 w 2860975"/>
              <a:gd name="connsiteY23" fmla="*/ 242419 h 6156118"/>
              <a:gd name="connsiteX24" fmla="*/ 2022561 w 2860975"/>
              <a:gd name="connsiteY24" fmla="*/ 242419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790484 w 2860975"/>
              <a:gd name="connsiteY23" fmla="*/ 242419 h 6156118"/>
              <a:gd name="connsiteX24" fmla="*/ 2022561 w 2860975"/>
              <a:gd name="connsiteY24" fmla="*/ 242419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2561 w 2860975"/>
              <a:gd name="connsiteY24" fmla="*/ 242419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60776 w 2860975"/>
              <a:gd name="connsiteY25" fmla="*/ 163057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60776 w 2860975"/>
              <a:gd name="connsiteY25" fmla="*/ 163057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60776 w 2860975"/>
              <a:gd name="connsiteY25" fmla="*/ 163057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60776 w 2860975"/>
              <a:gd name="connsiteY25" fmla="*/ 163057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60776 w 2860975"/>
              <a:gd name="connsiteY25" fmla="*/ 163057 h 6156118"/>
              <a:gd name="connsiteX26" fmla="*/ 2205413 w 2860975"/>
              <a:gd name="connsiteY26" fmla="*/ 89905 h 6156118"/>
              <a:gd name="connsiteX27" fmla="*/ 2340821 w 2860975"/>
              <a:gd name="connsiteY27" fmla="*/ 5626 h 6156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860975" h="6156118">
                <a:moveTo>
                  <a:pt x="2340821" y="5626"/>
                </a:moveTo>
                <a:cubicBezTo>
                  <a:pt x="2394593" y="10297"/>
                  <a:pt x="2455073" y="-5153"/>
                  <a:pt x="2508845" y="1854"/>
                </a:cubicBezTo>
                <a:cubicBezTo>
                  <a:pt x="2560279" y="6525"/>
                  <a:pt x="2614051" y="11197"/>
                  <a:pt x="2663147" y="27546"/>
                </a:cubicBezTo>
                <a:cubicBezTo>
                  <a:pt x="2749650" y="55573"/>
                  <a:pt x="2805759" y="116298"/>
                  <a:pt x="2829139" y="202714"/>
                </a:cubicBezTo>
                <a:cubicBezTo>
                  <a:pt x="2861869" y="317158"/>
                  <a:pt x="2864207" y="422859"/>
                  <a:pt x="2858618" y="541973"/>
                </a:cubicBezTo>
                <a:cubicBezTo>
                  <a:pt x="2851299" y="627790"/>
                  <a:pt x="2852078" y="698666"/>
                  <a:pt x="2851299" y="804396"/>
                </a:cubicBezTo>
                <a:cubicBezTo>
                  <a:pt x="2850520" y="910126"/>
                  <a:pt x="2851605" y="1050232"/>
                  <a:pt x="2853943" y="1176354"/>
                </a:cubicBezTo>
                <a:cubicBezTo>
                  <a:pt x="2856281" y="1248757"/>
                  <a:pt x="2850807" y="627352"/>
                  <a:pt x="2850180" y="1386856"/>
                </a:cubicBezTo>
                <a:cubicBezTo>
                  <a:pt x="2849553" y="2146360"/>
                  <a:pt x="2850180" y="4284537"/>
                  <a:pt x="2850180" y="5733378"/>
                </a:cubicBezTo>
                <a:cubicBezTo>
                  <a:pt x="2850180" y="5808116"/>
                  <a:pt x="2840828" y="5882855"/>
                  <a:pt x="2826801" y="5955258"/>
                </a:cubicBezTo>
                <a:cubicBezTo>
                  <a:pt x="2819787" y="5987956"/>
                  <a:pt x="2791732" y="6020654"/>
                  <a:pt x="2766015" y="6046346"/>
                </a:cubicBezTo>
                <a:cubicBezTo>
                  <a:pt x="2674837" y="6142105"/>
                  <a:pt x="2555603" y="6156118"/>
                  <a:pt x="2429356" y="6156118"/>
                </a:cubicBezTo>
                <a:lnTo>
                  <a:pt x="362647" y="6153783"/>
                </a:lnTo>
                <a:cubicBezTo>
                  <a:pt x="269130" y="6153783"/>
                  <a:pt x="177952" y="6139769"/>
                  <a:pt x="103139" y="6069702"/>
                </a:cubicBezTo>
                <a:cubicBezTo>
                  <a:pt x="33002" y="6001970"/>
                  <a:pt x="7285" y="5913218"/>
                  <a:pt x="7285" y="5819794"/>
                </a:cubicBezTo>
                <a:cubicBezTo>
                  <a:pt x="4947" y="5182180"/>
                  <a:pt x="7285" y="4544565"/>
                  <a:pt x="7285" y="3906951"/>
                </a:cubicBezTo>
                <a:lnTo>
                  <a:pt x="7285" y="3206275"/>
                </a:lnTo>
                <a:cubicBezTo>
                  <a:pt x="7285" y="2363130"/>
                  <a:pt x="7285" y="1522319"/>
                  <a:pt x="4947" y="679174"/>
                </a:cubicBezTo>
                <a:cubicBezTo>
                  <a:pt x="4947" y="583415"/>
                  <a:pt x="-4405" y="485320"/>
                  <a:pt x="2609" y="389561"/>
                </a:cubicBezTo>
                <a:cubicBezTo>
                  <a:pt x="7285" y="307816"/>
                  <a:pt x="23650" y="249964"/>
                  <a:pt x="47029" y="170554"/>
                </a:cubicBezTo>
                <a:cubicBezTo>
                  <a:pt x="75084" y="84137"/>
                  <a:pt x="151066" y="57338"/>
                  <a:pt x="234062" y="31018"/>
                </a:cubicBezTo>
                <a:cubicBezTo>
                  <a:pt x="317058" y="4698"/>
                  <a:pt x="477118" y="5037"/>
                  <a:pt x="545003" y="12633"/>
                </a:cubicBezTo>
                <a:cubicBezTo>
                  <a:pt x="612888" y="20229"/>
                  <a:pt x="636694" y="29881"/>
                  <a:pt x="641370" y="76593"/>
                </a:cubicBezTo>
                <a:cubicBezTo>
                  <a:pt x="687972" y="205752"/>
                  <a:pt x="791992" y="193111"/>
                  <a:pt x="853104" y="193715"/>
                </a:cubicBezTo>
                <a:lnTo>
                  <a:pt x="2029518" y="193715"/>
                </a:lnTo>
                <a:cubicBezTo>
                  <a:pt x="2064606" y="188605"/>
                  <a:pt x="2108420" y="181980"/>
                  <a:pt x="2160776" y="163057"/>
                </a:cubicBezTo>
                <a:cubicBezTo>
                  <a:pt x="2179479" y="137366"/>
                  <a:pt x="2200737" y="120267"/>
                  <a:pt x="2205413" y="89905"/>
                </a:cubicBezTo>
                <a:cubicBezTo>
                  <a:pt x="2217103" y="22173"/>
                  <a:pt x="2251164" y="11733"/>
                  <a:pt x="2340821" y="5626"/>
                </a:cubicBezTo>
                <a:close/>
              </a:path>
            </a:pathLst>
          </a:custGeom>
          <a:blipFill>
            <a:blip r:embed="rId5"/>
            <a:stretch>
              <a:fillRect l="-121001" r="-138446" b="-5101"/>
            </a:stretch>
          </a:blipFill>
        </p:spPr>
        <p:txBody>
          <a:bodyPr wrap="square" anchor="ctr" anchorCtr="1">
            <a:noAutofit/>
          </a:bodyPr>
          <a:lstStyle>
            <a:lvl1pPr marL="0" indent="0">
              <a:buNone/>
              <a:defRPr/>
            </a:lvl1pPr>
          </a:lstStyle>
          <a:p>
            <a:endParaRPr lang="en-US"/>
          </a:p>
        </p:txBody>
      </p:sp>
      <p:sp>
        <p:nvSpPr>
          <p:cNvPr id="63" name="Picture Placeholder 3">
            <a:extLst>
              <a:ext uri="{FF2B5EF4-FFF2-40B4-BE49-F238E27FC236}">
                <a16:creationId xmlns:a16="http://schemas.microsoft.com/office/drawing/2014/main" id="{4E890F78-3840-8949-8119-9C986EDC58C5}"/>
              </a:ext>
            </a:extLst>
          </p:cNvPr>
          <p:cNvSpPr>
            <a:spLocks noGrp="1" noChangeAspect="1"/>
          </p:cNvSpPr>
          <p:nvPr>
            <p:ph type="pic" sz="quarter" idx="15"/>
          </p:nvPr>
        </p:nvSpPr>
        <p:spPr>
          <a:xfrm>
            <a:off x="10382261" y="2009236"/>
            <a:ext cx="1440599" cy="3099816"/>
          </a:xfrm>
          <a:custGeom>
            <a:avLst/>
            <a:gdLst>
              <a:gd name="connsiteX0" fmla="*/ 2345192 w 2857253"/>
              <a:gd name="connsiteY0" fmla="*/ 986 h 6164592"/>
              <a:gd name="connsiteX1" fmla="*/ 2508845 w 2857253"/>
              <a:gd name="connsiteY1" fmla="*/ 10328 h 6164592"/>
              <a:gd name="connsiteX2" fmla="*/ 2663147 w 2857253"/>
              <a:gd name="connsiteY2" fmla="*/ 36020 h 6164592"/>
              <a:gd name="connsiteX3" fmla="*/ 2829139 w 2857253"/>
              <a:gd name="connsiteY3" fmla="*/ 211188 h 6164592"/>
              <a:gd name="connsiteX4" fmla="*/ 2845504 w 2857253"/>
              <a:gd name="connsiteY4" fmla="*/ 559190 h 6164592"/>
              <a:gd name="connsiteX5" fmla="*/ 2833814 w 2857253"/>
              <a:gd name="connsiteY5" fmla="*/ 799756 h 6164592"/>
              <a:gd name="connsiteX6" fmla="*/ 2840828 w 2857253"/>
              <a:gd name="connsiteY6" fmla="*/ 1180456 h 6164592"/>
              <a:gd name="connsiteX7" fmla="*/ 2850180 w 2857253"/>
              <a:gd name="connsiteY7" fmla="*/ 1395330 h 6164592"/>
              <a:gd name="connsiteX8" fmla="*/ 2850180 w 2857253"/>
              <a:gd name="connsiteY8" fmla="*/ 5741852 h 6164592"/>
              <a:gd name="connsiteX9" fmla="*/ 2826801 w 2857253"/>
              <a:gd name="connsiteY9" fmla="*/ 5963732 h 6164592"/>
              <a:gd name="connsiteX10" fmla="*/ 2766015 w 2857253"/>
              <a:gd name="connsiteY10" fmla="*/ 6054820 h 6164592"/>
              <a:gd name="connsiteX11" fmla="*/ 2429356 w 2857253"/>
              <a:gd name="connsiteY11" fmla="*/ 6164592 h 6164592"/>
              <a:gd name="connsiteX12" fmla="*/ 362647 w 2857253"/>
              <a:gd name="connsiteY12" fmla="*/ 6162257 h 6164592"/>
              <a:gd name="connsiteX13" fmla="*/ 103139 w 2857253"/>
              <a:gd name="connsiteY13" fmla="*/ 6078176 h 6164592"/>
              <a:gd name="connsiteX14" fmla="*/ 7285 w 2857253"/>
              <a:gd name="connsiteY14" fmla="*/ 5828268 h 6164592"/>
              <a:gd name="connsiteX15" fmla="*/ 7285 w 2857253"/>
              <a:gd name="connsiteY15" fmla="*/ 3915425 h 6164592"/>
              <a:gd name="connsiteX16" fmla="*/ 7285 w 2857253"/>
              <a:gd name="connsiteY16" fmla="*/ 3214749 h 6164592"/>
              <a:gd name="connsiteX17" fmla="*/ 4947 w 2857253"/>
              <a:gd name="connsiteY17" fmla="*/ 687648 h 6164592"/>
              <a:gd name="connsiteX18" fmla="*/ 2609 w 2857253"/>
              <a:gd name="connsiteY18" fmla="*/ 398035 h 6164592"/>
              <a:gd name="connsiteX19" fmla="*/ 47029 w 2857253"/>
              <a:gd name="connsiteY19" fmla="*/ 152799 h 6164592"/>
              <a:gd name="connsiteX20" fmla="*/ 234062 w 2857253"/>
              <a:gd name="connsiteY20" fmla="*/ 22006 h 6164592"/>
              <a:gd name="connsiteX21" fmla="*/ 545003 w 2857253"/>
              <a:gd name="connsiteY21" fmla="*/ 7993 h 6164592"/>
              <a:gd name="connsiteX22" fmla="*/ 615141 w 2857253"/>
              <a:gd name="connsiteY22" fmla="*/ 85067 h 6164592"/>
              <a:gd name="connsiteX23" fmla="*/ 790484 w 2857253"/>
              <a:gd name="connsiteY23" fmla="*/ 250893 h 6164592"/>
              <a:gd name="connsiteX24" fmla="*/ 2022561 w 2857253"/>
              <a:gd name="connsiteY24" fmla="*/ 250893 h 6164592"/>
              <a:gd name="connsiteX25" fmla="*/ 2195566 w 2857253"/>
              <a:gd name="connsiteY25" fmla="*/ 178490 h 6164592"/>
              <a:gd name="connsiteX26" fmla="*/ 2230634 w 2857253"/>
              <a:gd name="connsiteY26" fmla="*/ 92074 h 6164592"/>
              <a:gd name="connsiteX27" fmla="*/ 2345192 w 2857253"/>
              <a:gd name="connsiteY27" fmla="*/ 986 h 6164592"/>
              <a:gd name="connsiteX0" fmla="*/ 2345192 w 2857253"/>
              <a:gd name="connsiteY0" fmla="*/ 986 h 6164592"/>
              <a:gd name="connsiteX1" fmla="*/ 2508845 w 2857253"/>
              <a:gd name="connsiteY1" fmla="*/ 10328 h 6164592"/>
              <a:gd name="connsiteX2" fmla="*/ 2663147 w 2857253"/>
              <a:gd name="connsiteY2" fmla="*/ 36020 h 6164592"/>
              <a:gd name="connsiteX3" fmla="*/ 2829139 w 2857253"/>
              <a:gd name="connsiteY3" fmla="*/ 211188 h 6164592"/>
              <a:gd name="connsiteX4" fmla="*/ 2845504 w 2857253"/>
              <a:gd name="connsiteY4" fmla="*/ 554819 h 6164592"/>
              <a:gd name="connsiteX5" fmla="*/ 2833814 w 2857253"/>
              <a:gd name="connsiteY5" fmla="*/ 799756 h 6164592"/>
              <a:gd name="connsiteX6" fmla="*/ 2840828 w 2857253"/>
              <a:gd name="connsiteY6" fmla="*/ 1180456 h 6164592"/>
              <a:gd name="connsiteX7" fmla="*/ 2850180 w 2857253"/>
              <a:gd name="connsiteY7" fmla="*/ 1395330 h 6164592"/>
              <a:gd name="connsiteX8" fmla="*/ 2850180 w 2857253"/>
              <a:gd name="connsiteY8" fmla="*/ 5741852 h 6164592"/>
              <a:gd name="connsiteX9" fmla="*/ 2826801 w 2857253"/>
              <a:gd name="connsiteY9" fmla="*/ 5963732 h 6164592"/>
              <a:gd name="connsiteX10" fmla="*/ 2766015 w 2857253"/>
              <a:gd name="connsiteY10" fmla="*/ 6054820 h 6164592"/>
              <a:gd name="connsiteX11" fmla="*/ 2429356 w 2857253"/>
              <a:gd name="connsiteY11" fmla="*/ 6164592 h 6164592"/>
              <a:gd name="connsiteX12" fmla="*/ 362647 w 2857253"/>
              <a:gd name="connsiteY12" fmla="*/ 6162257 h 6164592"/>
              <a:gd name="connsiteX13" fmla="*/ 103139 w 2857253"/>
              <a:gd name="connsiteY13" fmla="*/ 6078176 h 6164592"/>
              <a:gd name="connsiteX14" fmla="*/ 7285 w 2857253"/>
              <a:gd name="connsiteY14" fmla="*/ 5828268 h 6164592"/>
              <a:gd name="connsiteX15" fmla="*/ 7285 w 2857253"/>
              <a:gd name="connsiteY15" fmla="*/ 3915425 h 6164592"/>
              <a:gd name="connsiteX16" fmla="*/ 7285 w 2857253"/>
              <a:gd name="connsiteY16" fmla="*/ 3214749 h 6164592"/>
              <a:gd name="connsiteX17" fmla="*/ 4947 w 2857253"/>
              <a:gd name="connsiteY17" fmla="*/ 687648 h 6164592"/>
              <a:gd name="connsiteX18" fmla="*/ 2609 w 2857253"/>
              <a:gd name="connsiteY18" fmla="*/ 398035 h 6164592"/>
              <a:gd name="connsiteX19" fmla="*/ 47029 w 2857253"/>
              <a:gd name="connsiteY19" fmla="*/ 152799 h 6164592"/>
              <a:gd name="connsiteX20" fmla="*/ 234062 w 2857253"/>
              <a:gd name="connsiteY20" fmla="*/ 22006 h 6164592"/>
              <a:gd name="connsiteX21" fmla="*/ 545003 w 2857253"/>
              <a:gd name="connsiteY21" fmla="*/ 7993 h 6164592"/>
              <a:gd name="connsiteX22" fmla="*/ 615141 w 2857253"/>
              <a:gd name="connsiteY22" fmla="*/ 85067 h 6164592"/>
              <a:gd name="connsiteX23" fmla="*/ 790484 w 2857253"/>
              <a:gd name="connsiteY23" fmla="*/ 250893 h 6164592"/>
              <a:gd name="connsiteX24" fmla="*/ 2022561 w 2857253"/>
              <a:gd name="connsiteY24" fmla="*/ 250893 h 6164592"/>
              <a:gd name="connsiteX25" fmla="*/ 2195566 w 2857253"/>
              <a:gd name="connsiteY25" fmla="*/ 178490 h 6164592"/>
              <a:gd name="connsiteX26" fmla="*/ 2230634 w 2857253"/>
              <a:gd name="connsiteY26" fmla="*/ 92074 h 6164592"/>
              <a:gd name="connsiteX27" fmla="*/ 2345192 w 2857253"/>
              <a:gd name="connsiteY27" fmla="*/ 986 h 6164592"/>
              <a:gd name="connsiteX0" fmla="*/ 2345192 w 2857253"/>
              <a:gd name="connsiteY0" fmla="*/ 986 h 6164592"/>
              <a:gd name="connsiteX1" fmla="*/ 2508845 w 2857253"/>
              <a:gd name="connsiteY1" fmla="*/ 10328 h 6164592"/>
              <a:gd name="connsiteX2" fmla="*/ 2663147 w 2857253"/>
              <a:gd name="connsiteY2" fmla="*/ 36020 h 6164592"/>
              <a:gd name="connsiteX3" fmla="*/ 2829139 w 2857253"/>
              <a:gd name="connsiteY3" fmla="*/ 211188 h 6164592"/>
              <a:gd name="connsiteX4" fmla="*/ 2845504 w 2857253"/>
              <a:gd name="connsiteY4" fmla="*/ 554819 h 6164592"/>
              <a:gd name="connsiteX5" fmla="*/ 2851299 w 2857253"/>
              <a:gd name="connsiteY5" fmla="*/ 812870 h 6164592"/>
              <a:gd name="connsiteX6" fmla="*/ 2840828 w 2857253"/>
              <a:gd name="connsiteY6" fmla="*/ 1180456 h 6164592"/>
              <a:gd name="connsiteX7" fmla="*/ 2850180 w 2857253"/>
              <a:gd name="connsiteY7" fmla="*/ 1395330 h 6164592"/>
              <a:gd name="connsiteX8" fmla="*/ 2850180 w 2857253"/>
              <a:gd name="connsiteY8" fmla="*/ 5741852 h 6164592"/>
              <a:gd name="connsiteX9" fmla="*/ 2826801 w 2857253"/>
              <a:gd name="connsiteY9" fmla="*/ 5963732 h 6164592"/>
              <a:gd name="connsiteX10" fmla="*/ 2766015 w 2857253"/>
              <a:gd name="connsiteY10" fmla="*/ 6054820 h 6164592"/>
              <a:gd name="connsiteX11" fmla="*/ 2429356 w 2857253"/>
              <a:gd name="connsiteY11" fmla="*/ 6164592 h 6164592"/>
              <a:gd name="connsiteX12" fmla="*/ 362647 w 2857253"/>
              <a:gd name="connsiteY12" fmla="*/ 6162257 h 6164592"/>
              <a:gd name="connsiteX13" fmla="*/ 103139 w 2857253"/>
              <a:gd name="connsiteY13" fmla="*/ 6078176 h 6164592"/>
              <a:gd name="connsiteX14" fmla="*/ 7285 w 2857253"/>
              <a:gd name="connsiteY14" fmla="*/ 5828268 h 6164592"/>
              <a:gd name="connsiteX15" fmla="*/ 7285 w 2857253"/>
              <a:gd name="connsiteY15" fmla="*/ 3915425 h 6164592"/>
              <a:gd name="connsiteX16" fmla="*/ 7285 w 2857253"/>
              <a:gd name="connsiteY16" fmla="*/ 3214749 h 6164592"/>
              <a:gd name="connsiteX17" fmla="*/ 4947 w 2857253"/>
              <a:gd name="connsiteY17" fmla="*/ 687648 h 6164592"/>
              <a:gd name="connsiteX18" fmla="*/ 2609 w 2857253"/>
              <a:gd name="connsiteY18" fmla="*/ 398035 h 6164592"/>
              <a:gd name="connsiteX19" fmla="*/ 47029 w 2857253"/>
              <a:gd name="connsiteY19" fmla="*/ 152799 h 6164592"/>
              <a:gd name="connsiteX20" fmla="*/ 234062 w 2857253"/>
              <a:gd name="connsiteY20" fmla="*/ 22006 h 6164592"/>
              <a:gd name="connsiteX21" fmla="*/ 545003 w 2857253"/>
              <a:gd name="connsiteY21" fmla="*/ 7993 h 6164592"/>
              <a:gd name="connsiteX22" fmla="*/ 615141 w 2857253"/>
              <a:gd name="connsiteY22" fmla="*/ 85067 h 6164592"/>
              <a:gd name="connsiteX23" fmla="*/ 790484 w 2857253"/>
              <a:gd name="connsiteY23" fmla="*/ 250893 h 6164592"/>
              <a:gd name="connsiteX24" fmla="*/ 2022561 w 2857253"/>
              <a:gd name="connsiteY24" fmla="*/ 250893 h 6164592"/>
              <a:gd name="connsiteX25" fmla="*/ 2195566 w 2857253"/>
              <a:gd name="connsiteY25" fmla="*/ 178490 h 6164592"/>
              <a:gd name="connsiteX26" fmla="*/ 2230634 w 2857253"/>
              <a:gd name="connsiteY26" fmla="*/ 92074 h 6164592"/>
              <a:gd name="connsiteX27" fmla="*/ 2345192 w 2857253"/>
              <a:gd name="connsiteY27" fmla="*/ 986 h 6164592"/>
              <a:gd name="connsiteX0" fmla="*/ 2345192 w 2857253"/>
              <a:gd name="connsiteY0" fmla="*/ 986 h 6164592"/>
              <a:gd name="connsiteX1" fmla="*/ 2508845 w 2857253"/>
              <a:gd name="connsiteY1" fmla="*/ 10328 h 6164592"/>
              <a:gd name="connsiteX2" fmla="*/ 2663147 w 2857253"/>
              <a:gd name="connsiteY2" fmla="*/ 36020 h 6164592"/>
              <a:gd name="connsiteX3" fmla="*/ 2829139 w 2857253"/>
              <a:gd name="connsiteY3" fmla="*/ 211188 h 6164592"/>
              <a:gd name="connsiteX4" fmla="*/ 2845504 w 2857253"/>
              <a:gd name="connsiteY4" fmla="*/ 554819 h 6164592"/>
              <a:gd name="connsiteX5" fmla="*/ 2851299 w 2857253"/>
              <a:gd name="connsiteY5" fmla="*/ 812870 h 6164592"/>
              <a:gd name="connsiteX6" fmla="*/ 2853943 w 2857253"/>
              <a:gd name="connsiteY6" fmla="*/ 1184828 h 6164592"/>
              <a:gd name="connsiteX7" fmla="*/ 2850180 w 2857253"/>
              <a:gd name="connsiteY7" fmla="*/ 1395330 h 6164592"/>
              <a:gd name="connsiteX8" fmla="*/ 2850180 w 2857253"/>
              <a:gd name="connsiteY8" fmla="*/ 5741852 h 6164592"/>
              <a:gd name="connsiteX9" fmla="*/ 2826801 w 2857253"/>
              <a:gd name="connsiteY9" fmla="*/ 5963732 h 6164592"/>
              <a:gd name="connsiteX10" fmla="*/ 2766015 w 2857253"/>
              <a:gd name="connsiteY10" fmla="*/ 6054820 h 6164592"/>
              <a:gd name="connsiteX11" fmla="*/ 2429356 w 2857253"/>
              <a:gd name="connsiteY11" fmla="*/ 6164592 h 6164592"/>
              <a:gd name="connsiteX12" fmla="*/ 362647 w 2857253"/>
              <a:gd name="connsiteY12" fmla="*/ 6162257 h 6164592"/>
              <a:gd name="connsiteX13" fmla="*/ 103139 w 2857253"/>
              <a:gd name="connsiteY13" fmla="*/ 6078176 h 6164592"/>
              <a:gd name="connsiteX14" fmla="*/ 7285 w 2857253"/>
              <a:gd name="connsiteY14" fmla="*/ 5828268 h 6164592"/>
              <a:gd name="connsiteX15" fmla="*/ 7285 w 2857253"/>
              <a:gd name="connsiteY15" fmla="*/ 3915425 h 6164592"/>
              <a:gd name="connsiteX16" fmla="*/ 7285 w 2857253"/>
              <a:gd name="connsiteY16" fmla="*/ 3214749 h 6164592"/>
              <a:gd name="connsiteX17" fmla="*/ 4947 w 2857253"/>
              <a:gd name="connsiteY17" fmla="*/ 687648 h 6164592"/>
              <a:gd name="connsiteX18" fmla="*/ 2609 w 2857253"/>
              <a:gd name="connsiteY18" fmla="*/ 398035 h 6164592"/>
              <a:gd name="connsiteX19" fmla="*/ 47029 w 2857253"/>
              <a:gd name="connsiteY19" fmla="*/ 152799 h 6164592"/>
              <a:gd name="connsiteX20" fmla="*/ 234062 w 2857253"/>
              <a:gd name="connsiteY20" fmla="*/ 22006 h 6164592"/>
              <a:gd name="connsiteX21" fmla="*/ 545003 w 2857253"/>
              <a:gd name="connsiteY21" fmla="*/ 7993 h 6164592"/>
              <a:gd name="connsiteX22" fmla="*/ 615141 w 2857253"/>
              <a:gd name="connsiteY22" fmla="*/ 85067 h 6164592"/>
              <a:gd name="connsiteX23" fmla="*/ 790484 w 2857253"/>
              <a:gd name="connsiteY23" fmla="*/ 250893 h 6164592"/>
              <a:gd name="connsiteX24" fmla="*/ 2022561 w 2857253"/>
              <a:gd name="connsiteY24" fmla="*/ 250893 h 6164592"/>
              <a:gd name="connsiteX25" fmla="*/ 2195566 w 2857253"/>
              <a:gd name="connsiteY25" fmla="*/ 178490 h 6164592"/>
              <a:gd name="connsiteX26" fmla="*/ 2230634 w 2857253"/>
              <a:gd name="connsiteY26" fmla="*/ 92074 h 6164592"/>
              <a:gd name="connsiteX27" fmla="*/ 2345192 w 2857253"/>
              <a:gd name="connsiteY27" fmla="*/ 986 h 6164592"/>
              <a:gd name="connsiteX0" fmla="*/ 2345192 w 2860168"/>
              <a:gd name="connsiteY0" fmla="*/ 986 h 6164592"/>
              <a:gd name="connsiteX1" fmla="*/ 2508845 w 2860168"/>
              <a:gd name="connsiteY1" fmla="*/ 10328 h 6164592"/>
              <a:gd name="connsiteX2" fmla="*/ 2663147 w 2860168"/>
              <a:gd name="connsiteY2" fmla="*/ 36020 h 6164592"/>
              <a:gd name="connsiteX3" fmla="*/ 2829139 w 2860168"/>
              <a:gd name="connsiteY3" fmla="*/ 211188 h 6164592"/>
              <a:gd name="connsiteX4" fmla="*/ 2849875 w 2860168"/>
              <a:gd name="connsiteY4" fmla="*/ 554819 h 6164592"/>
              <a:gd name="connsiteX5" fmla="*/ 2851299 w 2860168"/>
              <a:gd name="connsiteY5" fmla="*/ 812870 h 6164592"/>
              <a:gd name="connsiteX6" fmla="*/ 2853943 w 2860168"/>
              <a:gd name="connsiteY6" fmla="*/ 1184828 h 6164592"/>
              <a:gd name="connsiteX7" fmla="*/ 2850180 w 2860168"/>
              <a:gd name="connsiteY7" fmla="*/ 1395330 h 6164592"/>
              <a:gd name="connsiteX8" fmla="*/ 2850180 w 2860168"/>
              <a:gd name="connsiteY8" fmla="*/ 5741852 h 6164592"/>
              <a:gd name="connsiteX9" fmla="*/ 2826801 w 2860168"/>
              <a:gd name="connsiteY9" fmla="*/ 5963732 h 6164592"/>
              <a:gd name="connsiteX10" fmla="*/ 2766015 w 2860168"/>
              <a:gd name="connsiteY10" fmla="*/ 6054820 h 6164592"/>
              <a:gd name="connsiteX11" fmla="*/ 2429356 w 2860168"/>
              <a:gd name="connsiteY11" fmla="*/ 6164592 h 6164592"/>
              <a:gd name="connsiteX12" fmla="*/ 362647 w 2860168"/>
              <a:gd name="connsiteY12" fmla="*/ 6162257 h 6164592"/>
              <a:gd name="connsiteX13" fmla="*/ 103139 w 2860168"/>
              <a:gd name="connsiteY13" fmla="*/ 6078176 h 6164592"/>
              <a:gd name="connsiteX14" fmla="*/ 7285 w 2860168"/>
              <a:gd name="connsiteY14" fmla="*/ 5828268 h 6164592"/>
              <a:gd name="connsiteX15" fmla="*/ 7285 w 2860168"/>
              <a:gd name="connsiteY15" fmla="*/ 3915425 h 6164592"/>
              <a:gd name="connsiteX16" fmla="*/ 7285 w 2860168"/>
              <a:gd name="connsiteY16" fmla="*/ 3214749 h 6164592"/>
              <a:gd name="connsiteX17" fmla="*/ 4947 w 2860168"/>
              <a:gd name="connsiteY17" fmla="*/ 687648 h 6164592"/>
              <a:gd name="connsiteX18" fmla="*/ 2609 w 2860168"/>
              <a:gd name="connsiteY18" fmla="*/ 398035 h 6164592"/>
              <a:gd name="connsiteX19" fmla="*/ 47029 w 2860168"/>
              <a:gd name="connsiteY19" fmla="*/ 152799 h 6164592"/>
              <a:gd name="connsiteX20" fmla="*/ 234062 w 2860168"/>
              <a:gd name="connsiteY20" fmla="*/ 22006 h 6164592"/>
              <a:gd name="connsiteX21" fmla="*/ 545003 w 2860168"/>
              <a:gd name="connsiteY21" fmla="*/ 7993 h 6164592"/>
              <a:gd name="connsiteX22" fmla="*/ 615141 w 2860168"/>
              <a:gd name="connsiteY22" fmla="*/ 85067 h 6164592"/>
              <a:gd name="connsiteX23" fmla="*/ 790484 w 2860168"/>
              <a:gd name="connsiteY23" fmla="*/ 250893 h 6164592"/>
              <a:gd name="connsiteX24" fmla="*/ 2022561 w 2860168"/>
              <a:gd name="connsiteY24" fmla="*/ 250893 h 6164592"/>
              <a:gd name="connsiteX25" fmla="*/ 2195566 w 2860168"/>
              <a:gd name="connsiteY25" fmla="*/ 178490 h 6164592"/>
              <a:gd name="connsiteX26" fmla="*/ 2230634 w 2860168"/>
              <a:gd name="connsiteY26" fmla="*/ 92074 h 6164592"/>
              <a:gd name="connsiteX27" fmla="*/ 2345192 w 2860168"/>
              <a:gd name="connsiteY27" fmla="*/ 986 h 6164592"/>
              <a:gd name="connsiteX0" fmla="*/ 2345192 w 2854520"/>
              <a:gd name="connsiteY0" fmla="*/ 986 h 6164592"/>
              <a:gd name="connsiteX1" fmla="*/ 2508845 w 2854520"/>
              <a:gd name="connsiteY1" fmla="*/ 10328 h 6164592"/>
              <a:gd name="connsiteX2" fmla="*/ 2663147 w 2854520"/>
              <a:gd name="connsiteY2" fmla="*/ 36020 h 6164592"/>
              <a:gd name="connsiteX3" fmla="*/ 2829139 w 2854520"/>
              <a:gd name="connsiteY3" fmla="*/ 211188 h 6164592"/>
              <a:gd name="connsiteX4" fmla="*/ 2849875 w 2854520"/>
              <a:gd name="connsiteY4" fmla="*/ 554819 h 6164592"/>
              <a:gd name="connsiteX5" fmla="*/ 2851299 w 2854520"/>
              <a:gd name="connsiteY5" fmla="*/ 812870 h 6164592"/>
              <a:gd name="connsiteX6" fmla="*/ 2853943 w 2854520"/>
              <a:gd name="connsiteY6" fmla="*/ 1184828 h 6164592"/>
              <a:gd name="connsiteX7" fmla="*/ 2850180 w 2854520"/>
              <a:gd name="connsiteY7" fmla="*/ 1395330 h 6164592"/>
              <a:gd name="connsiteX8" fmla="*/ 2850180 w 2854520"/>
              <a:gd name="connsiteY8" fmla="*/ 5741852 h 6164592"/>
              <a:gd name="connsiteX9" fmla="*/ 2826801 w 2854520"/>
              <a:gd name="connsiteY9" fmla="*/ 5963732 h 6164592"/>
              <a:gd name="connsiteX10" fmla="*/ 2766015 w 2854520"/>
              <a:gd name="connsiteY10" fmla="*/ 6054820 h 6164592"/>
              <a:gd name="connsiteX11" fmla="*/ 2429356 w 2854520"/>
              <a:gd name="connsiteY11" fmla="*/ 6164592 h 6164592"/>
              <a:gd name="connsiteX12" fmla="*/ 362647 w 2854520"/>
              <a:gd name="connsiteY12" fmla="*/ 6162257 h 6164592"/>
              <a:gd name="connsiteX13" fmla="*/ 103139 w 2854520"/>
              <a:gd name="connsiteY13" fmla="*/ 6078176 h 6164592"/>
              <a:gd name="connsiteX14" fmla="*/ 7285 w 2854520"/>
              <a:gd name="connsiteY14" fmla="*/ 5828268 h 6164592"/>
              <a:gd name="connsiteX15" fmla="*/ 7285 w 2854520"/>
              <a:gd name="connsiteY15" fmla="*/ 3915425 h 6164592"/>
              <a:gd name="connsiteX16" fmla="*/ 7285 w 2854520"/>
              <a:gd name="connsiteY16" fmla="*/ 3214749 h 6164592"/>
              <a:gd name="connsiteX17" fmla="*/ 4947 w 2854520"/>
              <a:gd name="connsiteY17" fmla="*/ 687648 h 6164592"/>
              <a:gd name="connsiteX18" fmla="*/ 2609 w 2854520"/>
              <a:gd name="connsiteY18" fmla="*/ 398035 h 6164592"/>
              <a:gd name="connsiteX19" fmla="*/ 47029 w 2854520"/>
              <a:gd name="connsiteY19" fmla="*/ 152799 h 6164592"/>
              <a:gd name="connsiteX20" fmla="*/ 234062 w 2854520"/>
              <a:gd name="connsiteY20" fmla="*/ 22006 h 6164592"/>
              <a:gd name="connsiteX21" fmla="*/ 545003 w 2854520"/>
              <a:gd name="connsiteY21" fmla="*/ 7993 h 6164592"/>
              <a:gd name="connsiteX22" fmla="*/ 615141 w 2854520"/>
              <a:gd name="connsiteY22" fmla="*/ 85067 h 6164592"/>
              <a:gd name="connsiteX23" fmla="*/ 790484 w 2854520"/>
              <a:gd name="connsiteY23" fmla="*/ 250893 h 6164592"/>
              <a:gd name="connsiteX24" fmla="*/ 2022561 w 2854520"/>
              <a:gd name="connsiteY24" fmla="*/ 250893 h 6164592"/>
              <a:gd name="connsiteX25" fmla="*/ 2195566 w 2854520"/>
              <a:gd name="connsiteY25" fmla="*/ 178490 h 6164592"/>
              <a:gd name="connsiteX26" fmla="*/ 2230634 w 2854520"/>
              <a:gd name="connsiteY26" fmla="*/ 92074 h 6164592"/>
              <a:gd name="connsiteX27" fmla="*/ 2345192 w 2854520"/>
              <a:gd name="connsiteY27" fmla="*/ 986 h 6164592"/>
              <a:gd name="connsiteX0" fmla="*/ 2345192 w 2854520"/>
              <a:gd name="connsiteY0" fmla="*/ 986 h 6164592"/>
              <a:gd name="connsiteX1" fmla="*/ 2508845 w 2854520"/>
              <a:gd name="connsiteY1" fmla="*/ 10328 h 6164592"/>
              <a:gd name="connsiteX2" fmla="*/ 2663147 w 2854520"/>
              <a:gd name="connsiteY2" fmla="*/ 36020 h 6164592"/>
              <a:gd name="connsiteX3" fmla="*/ 2829139 w 2854520"/>
              <a:gd name="connsiteY3" fmla="*/ 211188 h 6164592"/>
              <a:gd name="connsiteX4" fmla="*/ 2849875 w 2854520"/>
              <a:gd name="connsiteY4" fmla="*/ 554819 h 6164592"/>
              <a:gd name="connsiteX5" fmla="*/ 2851299 w 2854520"/>
              <a:gd name="connsiteY5" fmla="*/ 812870 h 6164592"/>
              <a:gd name="connsiteX6" fmla="*/ 2853943 w 2854520"/>
              <a:gd name="connsiteY6" fmla="*/ 1184828 h 6164592"/>
              <a:gd name="connsiteX7" fmla="*/ 2850180 w 2854520"/>
              <a:gd name="connsiteY7" fmla="*/ 1395330 h 6164592"/>
              <a:gd name="connsiteX8" fmla="*/ 2850180 w 2854520"/>
              <a:gd name="connsiteY8" fmla="*/ 5741852 h 6164592"/>
              <a:gd name="connsiteX9" fmla="*/ 2826801 w 2854520"/>
              <a:gd name="connsiteY9" fmla="*/ 5963732 h 6164592"/>
              <a:gd name="connsiteX10" fmla="*/ 2766015 w 2854520"/>
              <a:gd name="connsiteY10" fmla="*/ 6054820 h 6164592"/>
              <a:gd name="connsiteX11" fmla="*/ 2429356 w 2854520"/>
              <a:gd name="connsiteY11" fmla="*/ 6164592 h 6164592"/>
              <a:gd name="connsiteX12" fmla="*/ 362647 w 2854520"/>
              <a:gd name="connsiteY12" fmla="*/ 6162257 h 6164592"/>
              <a:gd name="connsiteX13" fmla="*/ 103139 w 2854520"/>
              <a:gd name="connsiteY13" fmla="*/ 6078176 h 6164592"/>
              <a:gd name="connsiteX14" fmla="*/ 7285 w 2854520"/>
              <a:gd name="connsiteY14" fmla="*/ 5828268 h 6164592"/>
              <a:gd name="connsiteX15" fmla="*/ 7285 w 2854520"/>
              <a:gd name="connsiteY15" fmla="*/ 3915425 h 6164592"/>
              <a:gd name="connsiteX16" fmla="*/ 7285 w 2854520"/>
              <a:gd name="connsiteY16" fmla="*/ 3214749 h 6164592"/>
              <a:gd name="connsiteX17" fmla="*/ 4947 w 2854520"/>
              <a:gd name="connsiteY17" fmla="*/ 687648 h 6164592"/>
              <a:gd name="connsiteX18" fmla="*/ 2609 w 2854520"/>
              <a:gd name="connsiteY18" fmla="*/ 398035 h 6164592"/>
              <a:gd name="connsiteX19" fmla="*/ 47029 w 2854520"/>
              <a:gd name="connsiteY19" fmla="*/ 152799 h 6164592"/>
              <a:gd name="connsiteX20" fmla="*/ 234062 w 2854520"/>
              <a:gd name="connsiteY20" fmla="*/ 22006 h 6164592"/>
              <a:gd name="connsiteX21" fmla="*/ 545003 w 2854520"/>
              <a:gd name="connsiteY21" fmla="*/ 7993 h 6164592"/>
              <a:gd name="connsiteX22" fmla="*/ 615141 w 2854520"/>
              <a:gd name="connsiteY22" fmla="*/ 85067 h 6164592"/>
              <a:gd name="connsiteX23" fmla="*/ 790484 w 2854520"/>
              <a:gd name="connsiteY23" fmla="*/ 250893 h 6164592"/>
              <a:gd name="connsiteX24" fmla="*/ 2022561 w 2854520"/>
              <a:gd name="connsiteY24" fmla="*/ 250893 h 6164592"/>
              <a:gd name="connsiteX25" fmla="*/ 2195566 w 2854520"/>
              <a:gd name="connsiteY25" fmla="*/ 178490 h 6164592"/>
              <a:gd name="connsiteX26" fmla="*/ 2230634 w 2854520"/>
              <a:gd name="connsiteY26" fmla="*/ 92074 h 6164592"/>
              <a:gd name="connsiteX27" fmla="*/ 2345192 w 2854520"/>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52799 h 6164592"/>
              <a:gd name="connsiteX20" fmla="*/ 234062 w 2860975"/>
              <a:gd name="connsiteY20" fmla="*/ 22006 h 6164592"/>
              <a:gd name="connsiteX21" fmla="*/ 545003 w 2860975"/>
              <a:gd name="connsiteY21" fmla="*/ 7993 h 6164592"/>
              <a:gd name="connsiteX22" fmla="*/ 615141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52799 h 6164592"/>
              <a:gd name="connsiteX20" fmla="*/ 234062 w 2860975"/>
              <a:gd name="connsiteY20" fmla="*/ 22006 h 6164592"/>
              <a:gd name="connsiteX21" fmla="*/ 545003 w 2860975"/>
              <a:gd name="connsiteY21" fmla="*/ 7993 h 6164592"/>
              <a:gd name="connsiteX22" fmla="*/ 615141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52799 h 6164592"/>
              <a:gd name="connsiteX20" fmla="*/ 234062 w 2860975"/>
              <a:gd name="connsiteY20" fmla="*/ 22006 h 6164592"/>
              <a:gd name="connsiteX21" fmla="*/ 545003 w 2860975"/>
              <a:gd name="connsiteY21" fmla="*/ 7993 h 6164592"/>
              <a:gd name="connsiteX22" fmla="*/ 641370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52799 h 6164592"/>
              <a:gd name="connsiteX20" fmla="*/ 234062 w 2860975"/>
              <a:gd name="connsiteY20" fmla="*/ 39492 h 6164592"/>
              <a:gd name="connsiteX21" fmla="*/ 545003 w 2860975"/>
              <a:gd name="connsiteY21" fmla="*/ 7993 h 6164592"/>
              <a:gd name="connsiteX22" fmla="*/ 641370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79028 h 6164592"/>
              <a:gd name="connsiteX20" fmla="*/ 234062 w 2860975"/>
              <a:gd name="connsiteY20" fmla="*/ 39492 h 6164592"/>
              <a:gd name="connsiteX21" fmla="*/ 545003 w 2860975"/>
              <a:gd name="connsiteY21" fmla="*/ 7993 h 6164592"/>
              <a:gd name="connsiteX22" fmla="*/ 641370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79028 h 6164592"/>
              <a:gd name="connsiteX20" fmla="*/ 234062 w 2860975"/>
              <a:gd name="connsiteY20" fmla="*/ 39492 h 6164592"/>
              <a:gd name="connsiteX21" fmla="*/ 545003 w 2860975"/>
              <a:gd name="connsiteY21" fmla="*/ 21107 h 6164592"/>
              <a:gd name="connsiteX22" fmla="*/ 641370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790484 w 2860975"/>
              <a:gd name="connsiteY23" fmla="*/ 242419 h 6156118"/>
              <a:gd name="connsiteX24" fmla="*/ 2022561 w 2860975"/>
              <a:gd name="connsiteY24" fmla="*/ 242419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790484 w 2860975"/>
              <a:gd name="connsiteY23" fmla="*/ 242419 h 6156118"/>
              <a:gd name="connsiteX24" fmla="*/ 2022561 w 2860975"/>
              <a:gd name="connsiteY24" fmla="*/ 242419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790484 w 2860975"/>
              <a:gd name="connsiteY23" fmla="*/ 242419 h 6156118"/>
              <a:gd name="connsiteX24" fmla="*/ 2022561 w 2860975"/>
              <a:gd name="connsiteY24" fmla="*/ 242419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790484 w 2860975"/>
              <a:gd name="connsiteY23" fmla="*/ 242419 h 6156118"/>
              <a:gd name="connsiteX24" fmla="*/ 2022561 w 2860975"/>
              <a:gd name="connsiteY24" fmla="*/ 242419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2561 w 2860975"/>
              <a:gd name="connsiteY24" fmla="*/ 242419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60776 w 2860975"/>
              <a:gd name="connsiteY25" fmla="*/ 163057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60776 w 2860975"/>
              <a:gd name="connsiteY25" fmla="*/ 163057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60776 w 2860975"/>
              <a:gd name="connsiteY25" fmla="*/ 163057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60776 w 2860975"/>
              <a:gd name="connsiteY25" fmla="*/ 163057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60776 w 2860975"/>
              <a:gd name="connsiteY25" fmla="*/ 163057 h 6156118"/>
              <a:gd name="connsiteX26" fmla="*/ 2205413 w 2860975"/>
              <a:gd name="connsiteY26" fmla="*/ 89905 h 6156118"/>
              <a:gd name="connsiteX27" fmla="*/ 2340821 w 2860975"/>
              <a:gd name="connsiteY27" fmla="*/ 5626 h 6156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860975" h="6156118">
                <a:moveTo>
                  <a:pt x="2340821" y="5626"/>
                </a:moveTo>
                <a:cubicBezTo>
                  <a:pt x="2394593" y="10297"/>
                  <a:pt x="2455073" y="-5153"/>
                  <a:pt x="2508845" y="1854"/>
                </a:cubicBezTo>
                <a:cubicBezTo>
                  <a:pt x="2560279" y="6525"/>
                  <a:pt x="2614051" y="11197"/>
                  <a:pt x="2663147" y="27546"/>
                </a:cubicBezTo>
                <a:cubicBezTo>
                  <a:pt x="2749650" y="55573"/>
                  <a:pt x="2805759" y="116298"/>
                  <a:pt x="2829139" y="202714"/>
                </a:cubicBezTo>
                <a:cubicBezTo>
                  <a:pt x="2861869" y="317158"/>
                  <a:pt x="2864207" y="422859"/>
                  <a:pt x="2858618" y="541973"/>
                </a:cubicBezTo>
                <a:cubicBezTo>
                  <a:pt x="2851299" y="627790"/>
                  <a:pt x="2852078" y="698666"/>
                  <a:pt x="2851299" y="804396"/>
                </a:cubicBezTo>
                <a:cubicBezTo>
                  <a:pt x="2850520" y="910126"/>
                  <a:pt x="2851605" y="1050232"/>
                  <a:pt x="2853943" y="1176354"/>
                </a:cubicBezTo>
                <a:cubicBezTo>
                  <a:pt x="2856281" y="1248757"/>
                  <a:pt x="2850807" y="627352"/>
                  <a:pt x="2850180" y="1386856"/>
                </a:cubicBezTo>
                <a:cubicBezTo>
                  <a:pt x="2849553" y="2146360"/>
                  <a:pt x="2850180" y="4284537"/>
                  <a:pt x="2850180" y="5733378"/>
                </a:cubicBezTo>
                <a:cubicBezTo>
                  <a:pt x="2850180" y="5808116"/>
                  <a:pt x="2840828" y="5882855"/>
                  <a:pt x="2826801" y="5955258"/>
                </a:cubicBezTo>
                <a:cubicBezTo>
                  <a:pt x="2819787" y="5987956"/>
                  <a:pt x="2791732" y="6020654"/>
                  <a:pt x="2766015" y="6046346"/>
                </a:cubicBezTo>
                <a:cubicBezTo>
                  <a:pt x="2674837" y="6142105"/>
                  <a:pt x="2555603" y="6156118"/>
                  <a:pt x="2429356" y="6156118"/>
                </a:cubicBezTo>
                <a:lnTo>
                  <a:pt x="362647" y="6153783"/>
                </a:lnTo>
                <a:cubicBezTo>
                  <a:pt x="269130" y="6153783"/>
                  <a:pt x="177952" y="6139769"/>
                  <a:pt x="103139" y="6069702"/>
                </a:cubicBezTo>
                <a:cubicBezTo>
                  <a:pt x="33002" y="6001970"/>
                  <a:pt x="7285" y="5913218"/>
                  <a:pt x="7285" y="5819794"/>
                </a:cubicBezTo>
                <a:cubicBezTo>
                  <a:pt x="4947" y="5182180"/>
                  <a:pt x="7285" y="4544565"/>
                  <a:pt x="7285" y="3906951"/>
                </a:cubicBezTo>
                <a:lnTo>
                  <a:pt x="7285" y="3206275"/>
                </a:lnTo>
                <a:cubicBezTo>
                  <a:pt x="7285" y="2363130"/>
                  <a:pt x="7285" y="1522319"/>
                  <a:pt x="4947" y="679174"/>
                </a:cubicBezTo>
                <a:cubicBezTo>
                  <a:pt x="4947" y="583415"/>
                  <a:pt x="-4405" y="485320"/>
                  <a:pt x="2609" y="389561"/>
                </a:cubicBezTo>
                <a:cubicBezTo>
                  <a:pt x="7285" y="307816"/>
                  <a:pt x="23650" y="249964"/>
                  <a:pt x="47029" y="170554"/>
                </a:cubicBezTo>
                <a:cubicBezTo>
                  <a:pt x="75084" y="84137"/>
                  <a:pt x="151066" y="57338"/>
                  <a:pt x="234062" y="31018"/>
                </a:cubicBezTo>
                <a:cubicBezTo>
                  <a:pt x="317058" y="4698"/>
                  <a:pt x="477118" y="5037"/>
                  <a:pt x="545003" y="12633"/>
                </a:cubicBezTo>
                <a:cubicBezTo>
                  <a:pt x="612888" y="20229"/>
                  <a:pt x="636694" y="29881"/>
                  <a:pt x="641370" y="76593"/>
                </a:cubicBezTo>
                <a:cubicBezTo>
                  <a:pt x="687972" y="205752"/>
                  <a:pt x="791992" y="193111"/>
                  <a:pt x="853104" y="193715"/>
                </a:cubicBezTo>
                <a:lnTo>
                  <a:pt x="2029518" y="193715"/>
                </a:lnTo>
                <a:cubicBezTo>
                  <a:pt x="2064606" y="188605"/>
                  <a:pt x="2108420" y="181980"/>
                  <a:pt x="2160776" y="163057"/>
                </a:cubicBezTo>
                <a:cubicBezTo>
                  <a:pt x="2179479" y="137366"/>
                  <a:pt x="2200737" y="120267"/>
                  <a:pt x="2205413" y="89905"/>
                </a:cubicBezTo>
                <a:cubicBezTo>
                  <a:pt x="2217103" y="22173"/>
                  <a:pt x="2251164" y="11733"/>
                  <a:pt x="2340821" y="5626"/>
                </a:cubicBezTo>
                <a:close/>
              </a:path>
            </a:pathLst>
          </a:custGeom>
          <a:blipFill>
            <a:blip r:embed="rId5"/>
            <a:stretch>
              <a:fillRect l="-121001" r="-138446" b="-5101"/>
            </a:stretch>
          </a:blipFill>
        </p:spPr>
        <p:txBody>
          <a:bodyPr wrap="square" anchor="ctr" anchorCtr="1">
            <a:noAutofit/>
          </a:bodyPr>
          <a:lstStyle>
            <a:lvl1pPr marL="0" indent="0">
              <a:buNone/>
              <a:defRPr/>
            </a:lvl1pPr>
          </a:lstStyle>
          <a:p>
            <a:endParaRPr lang="en-US"/>
          </a:p>
        </p:txBody>
      </p:sp>
      <p:sp>
        <p:nvSpPr>
          <p:cNvPr id="64" name="Picture Placeholder 3">
            <a:extLst>
              <a:ext uri="{FF2B5EF4-FFF2-40B4-BE49-F238E27FC236}">
                <a16:creationId xmlns:a16="http://schemas.microsoft.com/office/drawing/2014/main" id="{2959E6EF-4F59-054A-86E7-B7BE658F3ABF}"/>
              </a:ext>
            </a:extLst>
          </p:cNvPr>
          <p:cNvSpPr>
            <a:spLocks noGrp="1" noChangeAspect="1"/>
          </p:cNvSpPr>
          <p:nvPr>
            <p:ph type="pic" sz="quarter" idx="16"/>
          </p:nvPr>
        </p:nvSpPr>
        <p:spPr>
          <a:xfrm>
            <a:off x="10382261" y="-1450401"/>
            <a:ext cx="1440599" cy="3099816"/>
          </a:xfrm>
          <a:custGeom>
            <a:avLst/>
            <a:gdLst>
              <a:gd name="connsiteX0" fmla="*/ 2345192 w 2857253"/>
              <a:gd name="connsiteY0" fmla="*/ 986 h 6164592"/>
              <a:gd name="connsiteX1" fmla="*/ 2508845 w 2857253"/>
              <a:gd name="connsiteY1" fmla="*/ 10328 h 6164592"/>
              <a:gd name="connsiteX2" fmla="*/ 2663147 w 2857253"/>
              <a:gd name="connsiteY2" fmla="*/ 36020 h 6164592"/>
              <a:gd name="connsiteX3" fmla="*/ 2829139 w 2857253"/>
              <a:gd name="connsiteY3" fmla="*/ 211188 h 6164592"/>
              <a:gd name="connsiteX4" fmla="*/ 2845504 w 2857253"/>
              <a:gd name="connsiteY4" fmla="*/ 559190 h 6164592"/>
              <a:gd name="connsiteX5" fmla="*/ 2833814 w 2857253"/>
              <a:gd name="connsiteY5" fmla="*/ 799756 h 6164592"/>
              <a:gd name="connsiteX6" fmla="*/ 2840828 w 2857253"/>
              <a:gd name="connsiteY6" fmla="*/ 1180456 h 6164592"/>
              <a:gd name="connsiteX7" fmla="*/ 2850180 w 2857253"/>
              <a:gd name="connsiteY7" fmla="*/ 1395330 h 6164592"/>
              <a:gd name="connsiteX8" fmla="*/ 2850180 w 2857253"/>
              <a:gd name="connsiteY8" fmla="*/ 5741852 h 6164592"/>
              <a:gd name="connsiteX9" fmla="*/ 2826801 w 2857253"/>
              <a:gd name="connsiteY9" fmla="*/ 5963732 h 6164592"/>
              <a:gd name="connsiteX10" fmla="*/ 2766015 w 2857253"/>
              <a:gd name="connsiteY10" fmla="*/ 6054820 h 6164592"/>
              <a:gd name="connsiteX11" fmla="*/ 2429356 w 2857253"/>
              <a:gd name="connsiteY11" fmla="*/ 6164592 h 6164592"/>
              <a:gd name="connsiteX12" fmla="*/ 362647 w 2857253"/>
              <a:gd name="connsiteY12" fmla="*/ 6162257 h 6164592"/>
              <a:gd name="connsiteX13" fmla="*/ 103139 w 2857253"/>
              <a:gd name="connsiteY13" fmla="*/ 6078176 h 6164592"/>
              <a:gd name="connsiteX14" fmla="*/ 7285 w 2857253"/>
              <a:gd name="connsiteY14" fmla="*/ 5828268 h 6164592"/>
              <a:gd name="connsiteX15" fmla="*/ 7285 w 2857253"/>
              <a:gd name="connsiteY15" fmla="*/ 3915425 h 6164592"/>
              <a:gd name="connsiteX16" fmla="*/ 7285 w 2857253"/>
              <a:gd name="connsiteY16" fmla="*/ 3214749 h 6164592"/>
              <a:gd name="connsiteX17" fmla="*/ 4947 w 2857253"/>
              <a:gd name="connsiteY17" fmla="*/ 687648 h 6164592"/>
              <a:gd name="connsiteX18" fmla="*/ 2609 w 2857253"/>
              <a:gd name="connsiteY18" fmla="*/ 398035 h 6164592"/>
              <a:gd name="connsiteX19" fmla="*/ 47029 w 2857253"/>
              <a:gd name="connsiteY19" fmla="*/ 152799 h 6164592"/>
              <a:gd name="connsiteX20" fmla="*/ 234062 w 2857253"/>
              <a:gd name="connsiteY20" fmla="*/ 22006 h 6164592"/>
              <a:gd name="connsiteX21" fmla="*/ 545003 w 2857253"/>
              <a:gd name="connsiteY21" fmla="*/ 7993 h 6164592"/>
              <a:gd name="connsiteX22" fmla="*/ 615141 w 2857253"/>
              <a:gd name="connsiteY22" fmla="*/ 85067 h 6164592"/>
              <a:gd name="connsiteX23" fmla="*/ 790484 w 2857253"/>
              <a:gd name="connsiteY23" fmla="*/ 250893 h 6164592"/>
              <a:gd name="connsiteX24" fmla="*/ 2022561 w 2857253"/>
              <a:gd name="connsiteY24" fmla="*/ 250893 h 6164592"/>
              <a:gd name="connsiteX25" fmla="*/ 2195566 w 2857253"/>
              <a:gd name="connsiteY25" fmla="*/ 178490 h 6164592"/>
              <a:gd name="connsiteX26" fmla="*/ 2230634 w 2857253"/>
              <a:gd name="connsiteY26" fmla="*/ 92074 h 6164592"/>
              <a:gd name="connsiteX27" fmla="*/ 2345192 w 2857253"/>
              <a:gd name="connsiteY27" fmla="*/ 986 h 6164592"/>
              <a:gd name="connsiteX0" fmla="*/ 2345192 w 2857253"/>
              <a:gd name="connsiteY0" fmla="*/ 986 h 6164592"/>
              <a:gd name="connsiteX1" fmla="*/ 2508845 w 2857253"/>
              <a:gd name="connsiteY1" fmla="*/ 10328 h 6164592"/>
              <a:gd name="connsiteX2" fmla="*/ 2663147 w 2857253"/>
              <a:gd name="connsiteY2" fmla="*/ 36020 h 6164592"/>
              <a:gd name="connsiteX3" fmla="*/ 2829139 w 2857253"/>
              <a:gd name="connsiteY3" fmla="*/ 211188 h 6164592"/>
              <a:gd name="connsiteX4" fmla="*/ 2845504 w 2857253"/>
              <a:gd name="connsiteY4" fmla="*/ 554819 h 6164592"/>
              <a:gd name="connsiteX5" fmla="*/ 2833814 w 2857253"/>
              <a:gd name="connsiteY5" fmla="*/ 799756 h 6164592"/>
              <a:gd name="connsiteX6" fmla="*/ 2840828 w 2857253"/>
              <a:gd name="connsiteY6" fmla="*/ 1180456 h 6164592"/>
              <a:gd name="connsiteX7" fmla="*/ 2850180 w 2857253"/>
              <a:gd name="connsiteY7" fmla="*/ 1395330 h 6164592"/>
              <a:gd name="connsiteX8" fmla="*/ 2850180 w 2857253"/>
              <a:gd name="connsiteY8" fmla="*/ 5741852 h 6164592"/>
              <a:gd name="connsiteX9" fmla="*/ 2826801 w 2857253"/>
              <a:gd name="connsiteY9" fmla="*/ 5963732 h 6164592"/>
              <a:gd name="connsiteX10" fmla="*/ 2766015 w 2857253"/>
              <a:gd name="connsiteY10" fmla="*/ 6054820 h 6164592"/>
              <a:gd name="connsiteX11" fmla="*/ 2429356 w 2857253"/>
              <a:gd name="connsiteY11" fmla="*/ 6164592 h 6164592"/>
              <a:gd name="connsiteX12" fmla="*/ 362647 w 2857253"/>
              <a:gd name="connsiteY12" fmla="*/ 6162257 h 6164592"/>
              <a:gd name="connsiteX13" fmla="*/ 103139 w 2857253"/>
              <a:gd name="connsiteY13" fmla="*/ 6078176 h 6164592"/>
              <a:gd name="connsiteX14" fmla="*/ 7285 w 2857253"/>
              <a:gd name="connsiteY14" fmla="*/ 5828268 h 6164592"/>
              <a:gd name="connsiteX15" fmla="*/ 7285 w 2857253"/>
              <a:gd name="connsiteY15" fmla="*/ 3915425 h 6164592"/>
              <a:gd name="connsiteX16" fmla="*/ 7285 w 2857253"/>
              <a:gd name="connsiteY16" fmla="*/ 3214749 h 6164592"/>
              <a:gd name="connsiteX17" fmla="*/ 4947 w 2857253"/>
              <a:gd name="connsiteY17" fmla="*/ 687648 h 6164592"/>
              <a:gd name="connsiteX18" fmla="*/ 2609 w 2857253"/>
              <a:gd name="connsiteY18" fmla="*/ 398035 h 6164592"/>
              <a:gd name="connsiteX19" fmla="*/ 47029 w 2857253"/>
              <a:gd name="connsiteY19" fmla="*/ 152799 h 6164592"/>
              <a:gd name="connsiteX20" fmla="*/ 234062 w 2857253"/>
              <a:gd name="connsiteY20" fmla="*/ 22006 h 6164592"/>
              <a:gd name="connsiteX21" fmla="*/ 545003 w 2857253"/>
              <a:gd name="connsiteY21" fmla="*/ 7993 h 6164592"/>
              <a:gd name="connsiteX22" fmla="*/ 615141 w 2857253"/>
              <a:gd name="connsiteY22" fmla="*/ 85067 h 6164592"/>
              <a:gd name="connsiteX23" fmla="*/ 790484 w 2857253"/>
              <a:gd name="connsiteY23" fmla="*/ 250893 h 6164592"/>
              <a:gd name="connsiteX24" fmla="*/ 2022561 w 2857253"/>
              <a:gd name="connsiteY24" fmla="*/ 250893 h 6164592"/>
              <a:gd name="connsiteX25" fmla="*/ 2195566 w 2857253"/>
              <a:gd name="connsiteY25" fmla="*/ 178490 h 6164592"/>
              <a:gd name="connsiteX26" fmla="*/ 2230634 w 2857253"/>
              <a:gd name="connsiteY26" fmla="*/ 92074 h 6164592"/>
              <a:gd name="connsiteX27" fmla="*/ 2345192 w 2857253"/>
              <a:gd name="connsiteY27" fmla="*/ 986 h 6164592"/>
              <a:gd name="connsiteX0" fmla="*/ 2345192 w 2857253"/>
              <a:gd name="connsiteY0" fmla="*/ 986 h 6164592"/>
              <a:gd name="connsiteX1" fmla="*/ 2508845 w 2857253"/>
              <a:gd name="connsiteY1" fmla="*/ 10328 h 6164592"/>
              <a:gd name="connsiteX2" fmla="*/ 2663147 w 2857253"/>
              <a:gd name="connsiteY2" fmla="*/ 36020 h 6164592"/>
              <a:gd name="connsiteX3" fmla="*/ 2829139 w 2857253"/>
              <a:gd name="connsiteY3" fmla="*/ 211188 h 6164592"/>
              <a:gd name="connsiteX4" fmla="*/ 2845504 w 2857253"/>
              <a:gd name="connsiteY4" fmla="*/ 554819 h 6164592"/>
              <a:gd name="connsiteX5" fmla="*/ 2851299 w 2857253"/>
              <a:gd name="connsiteY5" fmla="*/ 812870 h 6164592"/>
              <a:gd name="connsiteX6" fmla="*/ 2840828 w 2857253"/>
              <a:gd name="connsiteY6" fmla="*/ 1180456 h 6164592"/>
              <a:gd name="connsiteX7" fmla="*/ 2850180 w 2857253"/>
              <a:gd name="connsiteY7" fmla="*/ 1395330 h 6164592"/>
              <a:gd name="connsiteX8" fmla="*/ 2850180 w 2857253"/>
              <a:gd name="connsiteY8" fmla="*/ 5741852 h 6164592"/>
              <a:gd name="connsiteX9" fmla="*/ 2826801 w 2857253"/>
              <a:gd name="connsiteY9" fmla="*/ 5963732 h 6164592"/>
              <a:gd name="connsiteX10" fmla="*/ 2766015 w 2857253"/>
              <a:gd name="connsiteY10" fmla="*/ 6054820 h 6164592"/>
              <a:gd name="connsiteX11" fmla="*/ 2429356 w 2857253"/>
              <a:gd name="connsiteY11" fmla="*/ 6164592 h 6164592"/>
              <a:gd name="connsiteX12" fmla="*/ 362647 w 2857253"/>
              <a:gd name="connsiteY12" fmla="*/ 6162257 h 6164592"/>
              <a:gd name="connsiteX13" fmla="*/ 103139 w 2857253"/>
              <a:gd name="connsiteY13" fmla="*/ 6078176 h 6164592"/>
              <a:gd name="connsiteX14" fmla="*/ 7285 w 2857253"/>
              <a:gd name="connsiteY14" fmla="*/ 5828268 h 6164592"/>
              <a:gd name="connsiteX15" fmla="*/ 7285 w 2857253"/>
              <a:gd name="connsiteY15" fmla="*/ 3915425 h 6164592"/>
              <a:gd name="connsiteX16" fmla="*/ 7285 w 2857253"/>
              <a:gd name="connsiteY16" fmla="*/ 3214749 h 6164592"/>
              <a:gd name="connsiteX17" fmla="*/ 4947 w 2857253"/>
              <a:gd name="connsiteY17" fmla="*/ 687648 h 6164592"/>
              <a:gd name="connsiteX18" fmla="*/ 2609 w 2857253"/>
              <a:gd name="connsiteY18" fmla="*/ 398035 h 6164592"/>
              <a:gd name="connsiteX19" fmla="*/ 47029 w 2857253"/>
              <a:gd name="connsiteY19" fmla="*/ 152799 h 6164592"/>
              <a:gd name="connsiteX20" fmla="*/ 234062 w 2857253"/>
              <a:gd name="connsiteY20" fmla="*/ 22006 h 6164592"/>
              <a:gd name="connsiteX21" fmla="*/ 545003 w 2857253"/>
              <a:gd name="connsiteY21" fmla="*/ 7993 h 6164592"/>
              <a:gd name="connsiteX22" fmla="*/ 615141 w 2857253"/>
              <a:gd name="connsiteY22" fmla="*/ 85067 h 6164592"/>
              <a:gd name="connsiteX23" fmla="*/ 790484 w 2857253"/>
              <a:gd name="connsiteY23" fmla="*/ 250893 h 6164592"/>
              <a:gd name="connsiteX24" fmla="*/ 2022561 w 2857253"/>
              <a:gd name="connsiteY24" fmla="*/ 250893 h 6164592"/>
              <a:gd name="connsiteX25" fmla="*/ 2195566 w 2857253"/>
              <a:gd name="connsiteY25" fmla="*/ 178490 h 6164592"/>
              <a:gd name="connsiteX26" fmla="*/ 2230634 w 2857253"/>
              <a:gd name="connsiteY26" fmla="*/ 92074 h 6164592"/>
              <a:gd name="connsiteX27" fmla="*/ 2345192 w 2857253"/>
              <a:gd name="connsiteY27" fmla="*/ 986 h 6164592"/>
              <a:gd name="connsiteX0" fmla="*/ 2345192 w 2857253"/>
              <a:gd name="connsiteY0" fmla="*/ 986 h 6164592"/>
              <a:gd name="connsiteX1" fmla="*/ 2508845 w 2857253"/>
              <a:gd name="connsiteY1" fmla="*/ 10328 h 6164592"/>
              <a:gd name="connsiteX2" fmla="*/ 2663147 w 2857253"/>
              <a:gd name="connsiteY2" fmla="*/ 36020 h 6164592"/>
              <a:gd name="connsiteX3" fmla="*/ 2829139 w 2857253"/>
              <a:gd name="connsiteY3" fmla="*/ 211188 h 6164592"/>
              <a:gd name="connsiteX4" fmla="*/ 2845504 w 2857253"/>
              <a:gd name="connsiteY4" fmla="*/ 554819 h 6164592"/>
              <a:gd name="connsiteX5" fmla="*/ 2851299 w 2857253"/>
              <a:gd name="connsiteY5" fmla="*/ 812870 h 6164592"/>
              <a:gd name="connsiteX6" fmla="*/ 2853943 w 2857253"/>
              <a:gd name="connsiteY6" fmla="*/ 1184828 h 6164592"/>
              <a:gd name="connsiteX7" fmla="*/ 2850180 w 2857253"/>
              <a:gd name="connsiteY7" fmla="*/ 1395330 h 6164592"/>
              <a:gd name="connsiteX8" fmla="*/ 2850180 w 2857253"/>
              <a:gd name="connsiteY8" fmla="*/ 5741852 h 6164592"/>
              <a:gd name="connsiteX9" fmla="*/ 2826801 w 2857253"/>
              <a:gd name="connsiteY9" fmla="*/ 5963732 h 6164592"/>
              <a:gd name="connsiteX10" fmla="*/ 2766015 w 2857253"/>
              <a:gd name="connsiteY10" fmla="*/ 6054820 h 6164592"/>
              <a:gd name="connsiteX11" fmla="*/ 2429356 w 2857253"/>
              <a:gd name="connsiteY11" fmla="*/ 6164592 h 6164592"/>
              <a:gd name="connsiteX12" fmla="*/ 362647 w 2857253"/>
              <a:gd name="connsiteY12" fmla="*/ 6162257 h 6164592"/>
              <a:gd name="connsiteX13" fmla="*/ 103139 w 2857253"/>
              <a:gd name="connsiteY13" fmla="*/ 6078176 h 6164592"/>
              <a:gd name="connsiteX14" fmla="*/ 7285 w 2857253"/>
              <a:gd name="connsiteY14" fmla="*/ 5828268 h 6164592"/>
              <a:gd name="connsiteX15" fmla="*/ 7285 w 2857253"/>
              <a:gd name="connsiteY15" fmla="*/ 3915425 h 6164592"/>
              <a:gd name="connsiteX16" fmla="*/ 7285 w 2857253"/>
              <a:gd name="connsiteY16" fmla="*/ 3214749 h 6164592"/>
              <a:gd name="connsiteX17" fmla="*/ 4947 w 2857253"/>
              <a:gd name="connsiteY17" fmla="*/ 687648 h 6164592"/>
              <a:gd name="connsiteX18" fmla="*/ 2609 w 2857253"/>
              <a:gd name="connsiteY18" fmla="*/ 398035 h 6164592"/>
              <a:gd name="connsiteX19" fmla="*/ 47029 w 2857253"/>
              <a:gd name="connsiteY19" fmla="*/ 152799 h 6164592"/>
              <a:gd name="connsiteX20" fmla="*/ 234062 w 2857253"/>
              <a:gd name="connsiteY20" fmla="*/ 22006 h 6164592"/>
              <a:gd name="connsiteX21" fmla="*/ 545003 w 2857253"/>
              <a:gd name="connsiteY21" fmla="*/ 7993 h 6164592"/>
              <a:gd name="connsiteX22" fmla="*/ 615141 w 2857253"/>
              <a:gd name="connsiteY22" fmla="*/ 85067 h 6164592"/>
              <a:gd name="connsiteX23" fmla="*/ 790484 w 2857253"/>
              <a:gd name="connsiteY23" fmla="*/ 250893 h 6164592"/>
              <a:gd name="connsiteX24" fmla="*/ 2022561 w 2857253"/>
              <a:gd name="connsiteY24" fmla="*/ 250893 h 6164592"/>
              <a:gd name="connsiteX25" fmla="*/ 2195566 w 2857253"/>
              <a:gd name="connsiteY25" fmla="*/ 178490 h 6164592"/>
              <a:gd name="connsiteX26" fmla="*/ 2230634 w 2857253"/>
              <a:gd name="connsiteY26" fmla="*/ 92074 h 6164592"/>
              <a:gd name="connsiteX27" fmla="*/ 2345192 w 2857253"/>
              <a:gd name="connsiteY27" fmla="*/ 986 h 6164592"/>
              <a:gd name="connsiteX0" fmla="*/ 2345192 w 2860168"/>
              <a:gd name="connsiteY0" fmla="*/ 986 h 6164592"/>
              <a:gd name="connsiteX1" fmla="*/ 2508845 w 2860168"/>
              <a:gd name="connsiteY1" fmla="*/ 10328 h 6164592"/>
              <a:gd name="connsiteX2" fmla="*/ 2663147 w 2860168"/>
              <a:gd name="connsiteY2" fmla="*/ 36020 h 6164592"/>
              <a:gd name="connsiteX3" fmla="*/ 2829139 w 2860168"/>
              <a:gd name="connsiteY3" fmla="*/ 211188 h 6164592"/>
              <a:gd name="connsiteX4" fmla="*/ 2849875 w 2860168"/>
              <a:gd name="connsiteY4" fmla="*/ 554819 h 6164592"/>
              <a:gd name="connsiteX5" fmla="*/ 2851299 w 2860168"/>
              <a:gd name="connsiteY5" fmla="*/ 812870 h 6164592"/>
              <a:gd name="connsiteX6" fmla="*/ 2853943 w 2860168"/>
              <a:gd name="connsiteY6" fmla="*/ 1184828 h 6164592"/>
              <a:gd name="connsiteX7" fmla="*/ 2850180 w 2860168"/>
              <a:gd name="connsiteY7" fmla="*/ 1395330 h 6164592"/>
              <a:gd name="connsiteX8" fmla="*/ 2850180 w 2860168"/>
              <a:gd name="connsiteY8" fmla="*/ 5741852 h 6164592"/>
              <a:gd name="connsiteX9" fmla="*/ 2826801 w 2860168"/>
              <a:gd name="connsiteY9" fmla="*/ 5963732 h 6164592"/>
              <a:gd name="connsiteX10" fmla="*/ 2766015 w 2860168"/>
              <a:gd name="connsiteY10" fmla="*/ 6054820 h 6164592"/>
              <a:gd name="connsiteX11" fmla="*/ 2429356 w 2860168"/>
              <a:gd name="connsiteY11" fmla="*/ 6164592 h 6164592"/>
              <a:gd name="connsiteX12" fmla="*/ 362647 w 2860168"/>
              <a:gd name="connsiteY12" fmla="*/ 6162257 h 6164592"/>
              <a:gd name="connsiteX13" fmla="*/ 103139 w 2860168"/>
              <a:gd name="connsiteY13" fmla="*/ 6078176 h 6164592"/>
              <a:gd name="connsiteX14" fmla="*/ 7285 w 2860168"/>
              <a:gd name="connsiteY14" fmla="*/ 5828268 h 6164592"/>
              <a:gd name="connsiteX15" fmla="*/ 7285 w 2860168"/>
              <a:gd name="connsiteY15" fmla="*/ 3915425 h 6164592"/>
              <a:gd name="connsiteX16" fmla="*/ 7285 w 2860168"/>
              <a:gd name="connsiteY16" fmla="*/ 3214749 h 6164592"/>
              <a:gd name="connsiteX17" fmla="*/ 4947 w 2860168"/>
              <a:gd name="connsiteY17" fmla="*/ 687648 h 6164592"/>
              <a:gd name="connsiteX18" fmla="*/ 2609 w 2860168"/>
              <a:gd name="connsiteY18" fmla="*/ 398035 h 6164592"/>
              <a:gd name="connsiteX19" fmla="*/ 47029 w 2860168"/>
              <a:gd name="connsiteY19" fmla="*/ 152799 h 6164592"/>
              <a:gd name="connsiteX20" fmla="*/ 234062 w 2860168"/>
              <a:gd name="connsiteY20" fmla="*/ 22006 h 6164592"/>
              <a:gd name="connsiteX21" fmla="*/ 545003 w 2860168"/>
              <a:gd name="connsiteY21" fmla="*/ 7993 h 6164592"/>
              <a:gd name="connsiteX22" fmla="*/ 615141 w 2860168"/>
              <a:gd name="connsiteY22" fmla="*/ 85067 h 6164592"/>
              <a:gd name="connsiteX23" fmla="*/ 790484 w 2860168"/>
              <a:gd name="connsiteY23" fmla="*/ 250893 h 6164592"/>
              <a:gd name="connsiteX24" fmla="*/ 2022561 w 2860168"/>
              <a:gd name="connsiteY24" fmla="*/ 250893 h 6164592"/>
              <a:gd name="connsiteX25" fmla="*/ 2195566 w 2860168"/>
              <a:gd name="connsiteY25" fmla="*/ 178490 h 6164592"/>
              <a:gd name="connsiteX26" fmla="*/ 2230634 w 2860168"/>
              <a:gd name="connsiteY26" fmla="*/ 92074 h 6164592"/>
              <a:gd name="connsiteX27" fmla="*/ 2345192 w 2860168"/>
              <a:gd name="connsiteY27" fmla="*/ 986 h 6164592"/>
              <a:gd name="connsiteX0" fmla="*/ 2345192 w 2854520"/>
              <a:gd name="connsiteY0" fmla="*/ 986 h 6164592"/>
              <a:gd name="connsiteX1" fmla="*/ 2508845 w 2854520"/>
              <a:gd name="connsiteY1" fmla="*/ 10328 h 6164592"/>
              <a:gd name="connsiteX2" fmla="*/ 2663147 w 2854520"/>
              <a:gd name="connsiteY2" fmla="*/ 36020 h 6164592"/>
              <a:gd name="connsiteX3" fmla="*/ 2829139 w 2854520"/>
              <a:gd name="connsiteY3" fmla="*/ 211188 h 6164592"/>
              <a:gd name="connsiteX4" fmla="*/ 2849875 w 2854520"/>
              <a:gd name="connsiteY4" fmla="*/ 554819 h 6164592"/>
              <a:gd name="connsiteX5" fmla="*/ 2851299 w 2854520"/>
              <a:gd name="connsiteY5" fmla="*/ 812870 h 6164592"/>
              <a:gd name="connsiteX6" fmla="*/ 2853943 w 2854520"/>
              <a:gd name="connsiteY6" fmla="*/ 1184828 h 6164592"/>
              <a:gd name="connsiteX7" fmla="*/ 2850180 w 2854520"/>
              <a:gd name="connsiteY7" fmla="*/ 1395330 h 6164592"/>
              <a:gd name="connsiteX8" fmla="*/ 2850180 w 2854520"/>
              <a:gd name="connsiteY8" fmla="*/ 5741852 h 6164592"/>
              <a:gd name="connsiteX9" fmla="*/ 2826801 w 2854520"/>
              <a:gd name="connsiteY9" fmla="*/ 5963732 h 6164592"/>
              <a:gd name="connsiteX10" fmla="*/ 2766015 w 2854520"/>
              <a:gd name="connsiteY10" fmla="*/ 6054820 h 6164592"/>
              <a:gd name="connsiteX11" fmla="*/ 2429356 w 2854520"/>
              <a:gd name="connsiteY11" fmla="*/ 6164592 h 6164592"/>
              <a:gd name="connsiteX12" fmla="*/ 362647 w 2854520"/>
              <a:gd name="connsiteY12" fmla="*/ 6162257 h 6164592"/>
              <a:gd name="connsiteX13" fmla="*/ 103139 w 2854520"/>
              <a:gd name="connsiteY13" fmla="*/ 6078176 h 6164592"/>
              <a:gd name="connsiteX14" fmla="*/ 7285 w 2854520"/>
              <a:gd name="connsiteY14" fmla="*/ 5828268 h 6164592"/>
              <a:gd name="connsiteX15" fmla="*/ 7285 w 2854520"/>
              <a:gd name="connsiteY15" fmla="*/ 3915425 h 6164592"/>
              <a:gd name="connsiteX16" fmla="*/ 7285 w 2854520"/>
              <a:gd name="connsiteY16" fmla="*/ 3214749 h 6164592"/>
              <a:gd name="connsiteX17" fmla="*/ 4947 w 2854520"/>
              <a:gd name="connsiteY17" fmla="*/ 687648 h 6164592"/>
              <a:gd name="connsiteX18" fmla="*/ 2609 w 2854520"/>
              <a:gd name="connsiteY18" fmla="*/ 398035 h 6164592"/>
              <a:gd name="connsiteX19" fmla="*/ 47029 w 2854520"/>
              <a:gd name="connsiteY19" fmla="*/ 152799 h 6164592"/>
              <a:gd name="connsiteX20" fmla="*/ 234062 w 2854520"/>
              <a:gd name="connsiteY20" fmla="*/ 22006 h 6164592"/>
              <a:gd name="connsiteX21" fmla="*/ 545003 w 2854520"/>
              <a:gd name="connsiteY21" fmla="*/ 7993 h 6164592"/>
              <a:gd name="connsiteX22" fmla="*/ 615141 w 2854520"/>
              <a:gd name="connsiteY22" fmla="*/ 85067 h 6164592"/>
              <a:gd name="connsiteX23" fmla="*/ 790484 w 2854520"/>
              <a:gd name="connsiteY23" fmla="*/ 250893 h 6164592"/>
              <a:gd name="connsiteX24" fmla="*/ 2022561 w 2854520"/>
              <a:gd name="connsiteY24" fmla="*/ 250893 h 6164592"/>
              <a:gd name="connsiteX25" fmla="*/ 2195566 w 2854520"/>
              <a:gd name="connsiteY25" fmla="*/ 178490 h 6164592"/>
              <a:gd name="connsiteX26" fmla="*/ 2230634 w 2854520"/>
              <a:gd name="connsiteY26" fmla="*/ 92074 h 6164592"/>
              <a:gd name="connsiteX27" fmla="*/ 2345192 w 2854520"/>
              <a:gd name="connsiteY27" fmla="*/ 986 h 6164592"/>
              <a:gd name="connsiteX0" fmla="*/ 2345192 w 2854520"/>
              <a:gd name="connsiteY0" fmla="*/ 986 h 6164592"/>
              <a:gd name="connsiteX1" fmla="*/ 2508845 w 2854520"/>
              <a:gd name="connsiteY1" fmla="*/ 10328 h 6164592"/>
              <a:gd name="connsiteX2" fmla="*/ 2663147 w 2854520"/>
              <a:gd name="connsiteY2" fmla="*/ 36020 h 6164592"/>
              <a:gd name="connsiteX3" fmla="*/ 2829139 w 2854520"/>
              <a:gd name="connsiteY3" fmla="*/ 211188 h 6164592"/>
              <a:gd name="connsiteX4" fmla="*/ 2849875 w 2854520"/>
              <a:gd name="connsiteY4" fmla="*/ 554819 h 6164592"/>
              <a:gd name="connsiteX5" fmla="*/ 2851299 w 2854520"/>
              <a:gd name="connsiteY5" fmla="*/ 812870 h 6164592"/>
              <a:gd name="connsiteX6" fmla="*/ 2853943 w 2854520"/>
              <a:gd name="connsiteY6" fmla="*/ 1184828 h 6164592"/>
              <a:gd name="connsiteX7" fmla="*/ 2850180 w 2854520"/>
              <a:gd name="connsiteY7" fmla="*/ 1395330 h 6164592"/>
              <a:gd name="connsiteX8" fmla="*/ 2850180 w 2854520"/>
              <a:gd name="connsiteY8" fmla="*/ 5741852 h 6164592"/>
              <a:gd name="connsiteX9" fmla="*/ 2826801 w 2854520"/>
              <a:gd name="connsiteY9" fmla="*/ 5963732 h 6164592"/>
              <a:gd name="connsiteX10" fmla="*/ 2766015 w 2854520"/>
              <a:gd name="connsiteY10" fmla="*/ 6054820 h 6164592"/>
              <a:gd name="connsiteX11" fmla="*/ 2429356 w 2854520"/>
              <a:gd name="connsiteY11" fmla="*/ 6164592 h 6164592"/>
              <a:gd name="connsiteX12" fmla="*/ 362647 w 2854520"/>
              <a:gd name="connsiteY12" fmla="*/ 6162257 h 6164592"/>
              <a:gd name="connsiteX13" fmla="*/ 103139 w 2854520"/>
              <a:gd name="connsiteY13" fmla="*/ 6078176 h 6164592"/>
              <a:gd name="connsiteX14" fmla="*/ 7285 w 2854520"/>
              <a:gd name="connsiteY14" fmla="*/ 5828268 h 6164592"/>
              <a:gd name="connsiteX15" fmla="*/ 7285 w 2854520"/>
              <a:gd name="connsiteY15" fmla="*/ 3915425 h 6164592"/>
              <a:gd name="connsiteX16" fmla="*/ 7285 w 2854520"/>
              <a:gd name="connsiteY16" fmla="*/ 3214749 h 6164592"/>
              <a:gd name="connsiteX17" fmla="*/ 4947 w 2854520"/>
              <a:gd name="connsiteY17" fmla="*/ 687648 h 6164592"/>
              <a:gd name="connsiteX18" fmla="*/ 2609 w 2854520"/>
              <a:gd name="connsiteY18" fmla="*/ 398035 h 6164592"/>
              <a:gd name="connsiteX19" fmla="*/ 47029 w 2854520"/>
              <a:gd name="connsiteY19" fmla="*/ 152799 h 6164592"/>
              <a:gd name="connsiteX20" fmla="*/ 234062 w 2854520"/>
              <a:gd name="connsiteY20" fmla="*/ 22006 h 6164592"/>
              <a:gd name="connsiteX21" fmla="*/ 545003 w 2854520"/>
              <a:gd name="connsiteY21" fmla="*/ 7993 h 6164592"/>
              <a:gd name="connsiteX22" fmla="*/ 615141 w 2854520"/>
              <a:gd name="connsiteY22" fmla="*/ 85067 h 6164592"/>
              <a:gd name="connsiteX23" fmla="*/ 790484 w 2854520"/>
              <a:gd name="connsiteY23" fmla="*/ 250893 h 6164592"/>
              <a:gd name="connsiteX24" fmla="*/ 2022561 w 2854520"/>
              <a:gd name="connsiteY24" fmla="*/ 250893 h 6164592"/>
              <a:gd name="connsiteX25" fmla="*/ 2195566 w 2854520"/>
              <a:gd name="connsiteY25" fmla="*/ 178490 h 6164592"/>
              <a:gd name="connsiteX26" fmla="*/ 2230634 w 2854520"/>
              <a:gd name="connsiteY26" fmla="*/ 92074 h 6164592"/>
              <a:gd name="connsiteX27" fmla="*/ 2345192 w 2854520"/>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52799 h 6164592"/>
              <a:gd name="connsiteX20" fmla="*/ 234062 w 2860975"/>
              <a:gd name="connsiteY20" fmla="*/ 22006 h 6164592"/>
              <a:gd name="connsiteX21" fmla="*/ 545003 w 2860975"/>
              <a:gd name="connsiteY21" fmla="*/ 7993 h 6164592"/>
              <a:gd name="connsiteX22" fmla="*/ 615141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52799 h 6164592"/>
              <a:gd name="connsiteX20" fmla="*/ 234062 w 2860975"/>
              <a:gd name="connsiteY20" fmla="*/ 22006 h 6164592"/>
              <a:gd name="connsiteX21" fmla="*/ 545003 w 2860975"/>
              <a:gd name="connsiteY21" fmla="*/ 7993 h 6164592"/>
              <a:gd name="connsiteX22" fmla="*/ 615141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52799 h 6164592"/>
              <a:gd name="connsiteX20" fmla="*/ 234062 w 2860975"/>
              <a:gd name="connsiteY20" fmla="*/ 22006 h 6164592"/>
              <a:gd name="connsiteX21" fmla="*/ 545003 w 2860975"/>
              <a:gd name="connsiteY21" fmla="*/ 7993 h 6164592"/>
              <a:gd name="connsiteX22" fmla="*/ 641370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52799 h 6164592"/>
              <a:gd name="connsiteX20" fmla="*/ 234062 w 2860975"/>
              <a:gd name="connsiteY20" fmla="*/ 39492 h 6164592"/>
              <a:gd name="connsiteX21" fmla="*/ 545003 w 2860975"/>
              <a:gd name="connsiteY21" fmla="*/ 7993 h 6164592"/>
              <a:gd name="connsiteX22" fmla="*/ 641370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79028 h 6164592"/>
              <a:gd name="connsiteX20" fmla="*/ 234062 w 2860975"/>
              <a:gd name="connsiteY20" fmla="*/ 39492 h 6164592"/>
              <a:gd name="connsiteX21" fmla="*/ 545003 w 2860975"/>
              <a:gd name="connsiteY21" fmla="*/ 7993 h 6164592"/>
              <a:gd name="connsiteX22" fmla="*/ 641370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79028 h 6164592"/>
              <a:gd name="connsiteX20" fmla="*/ 234062 w 2860975"/>
              <a:gd name="connsiteY20" fmla="*/ 39492 h 6164592"/>
              <a:gd name="connsiteX21" fmla="*/ 545003 w 2860975"/>
              <a:gd name="connsiteY21" fmla="*/ 21107 h 6164592"/>
              <a:gd name="connsiteX22" fmla="*/ 641370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790484 w 2860975"/>
              <a:gd name="connsiteY23" fmla="*/ 242419 h 6156118"/>
              <a:gd name="connsiteX24" fmla="*/ 2022561 w 2860975"/>
              <a:gd name="connsiteY24" fmla="*/ 242419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790484 w 2860975"/>
              <a:gd name="connsiteY23" fmla="*/ 242419 h 6156118"/>
              <a:gd name="connsiteX24" fmla="*/ 2022561 w 2860975"/>
              <a:gd name="connsiteY24" fmla="*/ 242419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790484 w 2860975"/>
              <a:gd name="connsiteY23" fmla="*/ 242419 h 6156118"/>
              <a:gd name="connsiteX24" fmla="*/ 2022561 w 2860975"/>
              <a:gd name="connsiteY24" fmla="*/ 242419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790484 w 2860975"/>
              <a:gd name="connsiteY23" fmla="*/ 242419 h 6156118"/>
              <a:gd name="connsiteX24" fmla="*/ 2022561 w 2860975"/>
              <a:gd name="connsiteY24" fmla="*/ 242419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2561 w 2860975"/>
              <a:gd name="connsiteY24" fmla="*/ 242419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60776 w 2860975"/>
              <a:gd name="connsiteY25" fmla="*/ 163057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60776 w 2860975"/>
              <a:gd name="connsiteY25" fmla="*/ 163057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60776 w 2860975"/>
              <a:gd name="connsiteY25" fmla="*/ 163057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60776 w 2860975"/>
              <a:gd name="connsiteY25" fmla="*/ 163057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60776 w 2860975"/>
              <a:gd name="connsiteY25" fmla="*/ 163057 h 6156118"/>
              <a:gd name="connsiteX26" fmla="*/ 2205413 w 2860975"/>
              <a:gd name="connsiteY26" fmla="*/ 89905 h 6156118"/>
              <a:gd name="connsiteX27" fmla="*/ 2340821 w 2860975"/>
              <a:gd name="connsiteY27" fmla="*/ 5626 h 6156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860975" h="6156118">
                <a:moveTo>
                  <a:pt x="2340821" y="5626"/>
                </a:moveTo>
                <a:cubicBezTo>
                  <a:pt x="2394593" y="10297"/>
                  <a:pt x="2455073" y="-5153"/>
                  <a:pt x="2508845" y="1854"/>
                </a:cubicBezTo>
                <a:cubicBezTo>
                  <a:pt x="2560279" y="6525"/>
                  <a:pt x="2614051" y="11197"/>
                  <a:pt x="2663147" y="27546"/>
                </a:cubicBezTo>
                <a:cubicBezTo>
                  <a:pt x="2749650" y="55573"/>
                  <a:pt x="2805759" y="116298"/>
                  <a:pt x="2829139" y="202714"/>
                </a:cubicBezTo>
                <a:cubicBezTo>
                  <a:pt x="2861869" y="317158"/>
                  <a:pt x="2864207" y="422859"/>
                  <a:pt x="2858618" y="541973"/>
                </a:cubicBezTo>
                <a:cubicBezTo>
                  <a:pt x="2851299" y="627790"/>
                  <a:pt x="2852078" y="698666"/>
                  <a:pt x="2851299" y="804396"/>
                </a:cubicBezTo>
                <a:cubicBezTo>
                  <a:pt x="2850520" y="910126"/>
                  <a:pt x="2851605" y="1050232"/>
                  <a:pt x="2853943" y="1176354"/>
                </a:cubicBezTo>
                <a:cubicBezTo>
                  <a:pt x="2856281" y="1248757"/>
                  <a:pt x="2850807" y="627352"/>
                  <a:pt x="2850180" y="1386856"/>
                </a:cubicBezTo>
                <a:cubicBezTo>
                  <a:pt x="2849553" y="2146360"/>
                  <a:pt x="2850180" y="4284537"/>
                  <a:pt x="2850180" y="5733378"/>
                </a:cubicBezTo>
                <a:cubicBezTo>
                  <a:pt x="2850180" y="5808116"/>
                  <a:pt x="2840828" y="5882855"/>
                  <a:pt x="2826801" y="5955258"/>
                </a:cubicBezTo>
                <a:cubicBezTo>
                  <a:pt x="2819787" y="5987956"/>
                  <a:pt x="2791732" y="6020654"/>
                  <a:pt x="2766015" y="6046346"/>
                </a:cubicBezTo>
                <a:cubicBezTo>
                  <a:pt x="2674837" y="6142105"/>
                  <a:pt x="2555603" y="6156118"/>
                  <a:pt x="2429356" y="6156118"/>
                </a:cubicBezTo>
                <a:lnTo>
                  <a:pt x="362647" y="6153783"/>
                </a:lnTo>
                <a:cubicBezTo>
                  <a:pt x="269130" y="6153783"/>
                  <a:pt x="177952" y="6139769"/>
                  <a:pt x="103139" y="6069702"/>
                </a:cubicBezTo>
                <a:cubicBezTo>
                  <a:pt x="33002" y="6001970"/>
                  <a:pt x="7285" y="5913218"/>
                  <a:pt x="7285" y="5819794"/>
                </a:cubicBezTo>
                <a:cubicBezTo>
                  <a:pt x="4947" y="5182180"/>
                  <a:pt x="7285" y="4544565"/>
                  <a:pt x="7285" y="3906951"/>
                </a:cubicBezTo>
                <a:lnTo>
                  <a:pt x="7285" y="3206275"/>
                </a:lnTo>
                <a:cubicBezTo>
                  <a:pt x="7285" y="2363130"/>
                  <a:pt x="7285" y="1522319"/>
                  <a:pt x="4947" y="679174"/>
                </a:cubicBezTo>
                <a:cubicBezTo>
                  <a:pt x="4947" y="583415"/>
                  <a:pt x="-4405" y="485320"/>
                  <a:pt x="2609" y="389561"/>
                </a:cubicBezTo>
                <a:cubicBezTo>
                  <a:pt x="7285" y="307816"/>
                  <a:pt x="23650" y="249964"/>
                  <a:pt x="47029" y="170554"/>
                </a:cubicBezTo>
                <a:cubicBezTo>
                  <a:pt x="75084" y="84137"/>
                  <a:pt x="151066" y="57338"/>
                  <a:pt x="234062" y="31018"/>
                </a:cubicBezTo>
                <a:cubicBezTo>
                  <a:pt x="317058" y="4698"/>
                  <a:pt x="477118" y="5037"/>
                  <a:pt x="545003" y="12633"/>
                </a:cubicBezTo>
                <a:cubicBezTo>
                  <a:pt x="612888" y="20229"/>
                  <a:pt x="636694" y="29881"/>
                  <a:pt x="641370" y="76593"/>
                </a:cubicBezTo>
                <a:cubicBezTo>
                  <a:pt x="687972" y="205752"/>
                  <a:pt x="791992" y="193111"/>
                  <a:pt x="853104" y="193715"/>
                </a:cubicBezTo>
                <a:lnTo>
                  <a:pt x="2029518" y="193715"/>
                </a:lnTo>
                <a:cubicBezTo>
                  <a:pt x="2064606" y="188605"/>
                  <a:pt x="2108420" y="181980"/>
                  <a:pt x="2160776" y="163057"/>
                </a:cubicBezTo>
                <a:cubicBezTo>
                  <a:pt x="2179479" y="137366"/>
                  <a:pt x="2200737" y="120267"/>
                  <a:pt x="2205413" y="89905"/>
                </a:cubicBezTo>
                <a:cubicBezTo>
                  <a:pt x="2217103" y="22173"/>
                  <a:pt x="2251164" y="11733"/>
                  <a:pt x="2340821" y="5626"/>
                </a:cubicBezTo>
                <a:close/>
              </a:path>
            </a:pathLst>
          </a:custGeom>
          <a:blipFill>
            <a:blip r:embed="rId5"/>
            <a:stretch>
              <a:fillRect l="-121001" r="-138446" b="-5101"/>
            </a:stretch>
          </a:blipFill>
        </p:spPr>
        <p:txBody>
          <a:bodyPr wrap="square" anchor="ctr" anchorCtr="1">
            <a:noAutofit/>
          </a:bodyPr>
          <a:lstStyle>
            <a:lvl1pPr marL="0" indent="0">
              <a:buNone/>
              <a:defRPr/>
            </a:lvl1pPr>
          </a:lstStyle>
          <a:p>
            <a:endParaRPr lang="en-US"/>
          </a:p>
        </p:txBody>
      </p:sp>
      <p:sp>
        <p:nvSpPr>
          <p:cNvPr id="65" name="Picture Placeholder 3">
            <a:extLst>
              <a:ext uri="{FF2B5EF4-FFF2-40B4-BE49-F238E27FC236}">
                <a16:creationId xmlns:a16="http://schemas.microsoft.com/office/drawing/2014/main" id="{675BE653-0AAC-0945-931D-409224B75A0D}"/>
              </a:ext>
            </a:extLst>
          </p:cNvPr>
          <p:cNvSpPr>
            <a:spLocks noGrp="1" noChangeAspect="1"/>
          </p:cNvSpPr>
          <p:nvPr>
            <p:ph type="pic" sz="quarter" idx="17"/>
          </p:nvPr>
        </p:nvSpPr>
        <p:spPr>
          <a:xfrm>
            <a:off x="8393206" y="-2562763"/>
            <a:ext cx="1440599" cy="3099816"/>
          </a:xfrm>
          <a:custGeom>
            <a:avLst/>
            <a:gdLst>
              <a:gd name="connsiteX0" fmla="*/ 2345192 w 2857253"/>
              <a:gd name="connsiteY0" fmla="*/ 986 h 6164592"/>
              <a:gd name="connsiteX1" fmla="*/ 2508845 w 2857253"/>
              <a:gd name="connsiteY1" fmla="*/ 10328 h 6164592"/>
              <a:gd name="connsiteX2" fmla="*/ 2663147 w 2857253"/>
              <a:gd name="connsiteY2" fmla="*/ 36020 h 6164592"/>
              <a:gd name="connsiteX3" fmla="*/ 2829139 w 2857253"/>
              <a:gd name="connsiteY3" fmla="*/ 211188 h 6164592"/>
              <a:gd name="connsiteX4" fmla="*/ 2845504 w 2857253"/>
              <a:gd name="connsiteY4" fmla="*/ 559190 h 6164592"/>
              <a:gd name="connsiteX5" fmla="*/ 2833814 w 2857253"/>
              <a:gd name="connsiteY5" fmla="*/ 799756 h 6164592"/>
              <a:gd name="connsiteX6" fmla="*/ 2840828 w 2857253"/>
              <a:gd name="connsiteY6" fmla="*/ 1180456 h 6164592"/>
              <a:gd name="connsiteX7" fmla="*/ 2850180 w 2857253"/>
              <a:gd name="connsiteY7" fmla="*/ 1395330 h 6164592"/>
              <a:gd name="connsiteX8" fmla="*/ 2850180 w 2857253"/>
              <a:gd name="connsiteY8" fmla="*/ 5741852 h 6164592"/>
              <a:gd name="connsiteX9" fmla="*/ 2826801 w 2857253"/>
              <a:gd name="connsiteY9" fmla="*/ 5963732 h 6164592"/>
              <a:gd name="connsiteX10" fmla="*/ 2766015 w 2857253"/>
              <a:gd name="connsiteY10" fmla="*/ 6054820 h 6164592"/>
              <a:gd name="connsiteX11" fmla="*/ 2429356 w 2857253"/>
              <a:gd name="connsiteY11" fmla="*/ 6164592 h 6164592"/>
              <a:gd name="connsiteX12" fmla="*/ 362647 w 2857253"/>
              <a:gd name="connsiteY12" fmla="*/ 6162257 h 6164592"/>
              <a:gd name="connsiteX13" fmla="*/ 103139 w 2857253"/>
              <a:gd name="connsiteY13" fmla="*/ 6078176 h 6164592"/>
              <a:gd name="connsiteX14" fmla="*/ 7285 w 2857253"/>
              <a:gd name="connsiteY14" fmla="*/ 5828268 h 6164592"/>
              <a:gd name="connsiteX15" fmla="*/ 7285 w 2857253"/>
              <a:gd name="connsiteY15" fmla="*/ 3915425 h 6164592"/>
              <a:gd name="connsiteX16" fmla="*/ 7285 w 2857253"/>
              <a:gd name="connsiteY16" fmla="*/ 3214749 h 6164592"/>
              <a:gd name="connsiteX17" fmla="*/ 4947 w 2857253"/>
              <a:gd name="connsiteY17" fmla="*/ 687648 h 6164592"/>
              <a:gd name="connsiteX18" fmla="*/ 2609 w 2857253"/>
              <a:gd name="connsiteY18" fmla="*/ 398035 h 6164592"/>
              <a:gd name="connsiteX19" fmla="*/ 47029 w 2857253"/>
              <a:gd name="connsiteY19" fmla="*/ 152799 h 6164592"/>
              <a:gd name="connsiteX20" fmla="*/ 234062 w 2857253"/>
              <a:gd name="connsiteY20" fmla="*/ 22006 h 6164592"/>
              <a:gd name="connsiteX21" fmla="*/ 545003 w 2857253"/>
              <a:gd name="connsiteY21" fmla="*/ 7993 h 6164592"/>
              <a:gd name="connsiteX22" fmla="*/ 615141 w 2857253"/>
              <a:gd name="connsiteY22" fmla="*/ 85067 h 6164592"/>
              <a:gd name="connsiteX23" fmla="*/ 790484 w 2857253"/>
              <a:gd name="connsiteY23" fmla="*/ 250893 h 6164592"/>
              <a:gd name="connsiteX24" fmla="*/ 2022561 w 2857253"/>
              <a:gd name="connsiteY24" fmla="*/ 250893 h 6164592"/>
              <a:gd name="connsiteX25" fmla="*/ 2195566 w 2857253"/>
              <a:gd name="connsiteY25" fmla="*/ 178490 h 6164592"/>
              <a:gd name="connsiteX26" fmla="*/ 2230634 w 2857253"/>
              <a:gd name="connsiteY26" fmla="*/ 92074 h 6164592"/>
              <a:gd name="connsiteX27" fmla="*/ 2345192 w 2857253"/>
              <a:gd name="connsiteY27" fmla="*/ 986 h 6164592"/>
              <a:gd name="connsiteX0" fmla="*/ 2345192 w 2857253"/>
              <a:gd name="connsiteY0" fmla="*/ 986 h 6164592"/>
              <a:gd name="connsiteX1" fmla="*/ 2508845 w 2857253"/>
              <a:gd name="connsiteY1" fmla="*/ 10328 h 6164592"/>
              <a:gd name="connsiteX2" fmla="*/ 2663147 w 2857253"/>
              <a:gd name="connsiteY2" fmla="*/ 36020 h 6164592"/>
              <a:gd name="connsiteX3" fmla="*/ 2829139 w 2857253"/>
              <a:gd name="connsiteY3" fmla="*/ 211188 h 6164592"/>
              <a:gd name="connsiteX4" fmla="*/ 2845504 w 2857253"/>
              <a:gd name="connsiteY4" fmla="*/ 554819 h 6164592"/>
              <a:gd name="connsiteX5" fmla="*/ 2833814 w 2857253"/>
              <a:gd name="connsiteY5" fmla="*/ 799756 h 6164592"/>
              <a:gd name="connsiteX6" fmla="*/ 2840828 w 2857253"/>
              <a:gd name="connsiteY6" fmla="*/ 1180456 h 6164592"/>
              <a:gd name="connsiteX7" fmla="*/ 2850180 w 2857253"/>
              <a:gd name="connsiteY7" fmla="*/ 1395330 h 6164592"/>
              <a:gd name="connsiteX8" fmla="*/ 2850180 w 2857253"/>
              <a:gd name="connsiteY8" fmla="*/ 5741852 h 6164592"/>
              <a:gd name="connsiteX9" fmla="*/ 2826801 w 2857253"/>
              <a:gd name="connsiteY9" fmla="*/ 5963732 h 6164592"/>
              <a:gd name="connsiteX10" fmla="*/ 2766015 w 2857253"/>
              <a:gd name="connsiteY10" fmla="*/ 6054820 h 6164592"/>
              <a:gd name="connsiteX11" fmla="*/ 2429356 w 2857253"/>
              <a:gd name="connsiteY11" fmla="*/ 6164592 h 6164592"/>
              <a:gd name="connsiteX12" fmla="*/ 362647 w 2857253"/>
              <a:gd name="connsiteY12" fmla="*/ 6162257 h 6164592"/>
              <a:gd name="connsiteX13" fmla="*/ 103139 w 2857253"/>
              <a:gd name="connsiteY13" fmla="*/ 6078176 h 6164592"/>
              <a:gd name="connsiteX14" fmla="*/ 7285 w 2857253"/>
              <a:gd name="connsiteY14" fmla="*/ 5828268 h 6164592"/>
              <a:gd name="connsiteX15" fmla="*/ 7285 w 2857253"/>
              <a:gd name="connsiteY15" fmla="*/ 3915425 h 6164592"/>
              <a:gd name="connsiteX16" fmla="*/ 7285 w 2857253"/>
              <a:gd name="connsiteY16" fmla="*/ 3214749 h 6164592"/>
              <a:gd name="connsiteX17" fmla="*/ 4947 w 2857253"/>
              <a:gd name="connsiteY17" fmla="*/ 687648 h 6164592"/>
              <a:gd name="connsiteX18" fmla="*/ 2609 w 2857253"/>
              <a:gd name="connsiteY18" fmla="*/ 398035 h 6164592"/>
              <a:gd name="connsiteX19" fmla="*/ 47029 w 2857253"/>
              <a:gd name="connsiteY19" fmla="*/ 152799 h 6164592"/>
              <a:gd name="connsiteX20" fmla="*/ 234062 w 2857253"/>
              <a:gd name="connsiteY20" fmla="*/ 22006 h 6164592"/>
              <a:gd name="connsiteX21" fmla="*/ 545003 w 2857253"/>
              <a:gd name="connsiteY21" fmla="*/ 7993 h 6164592"/>
              <a:gd name="connsiteX22" fmla="*/ 615141 w 2857253"/>
              <a:gd name="connsiteY22" fmla="*/ 85067 h 6164592"/>
              <a:gd name="connsiteX23" fmla="*/ 790484 w 2857253"/>
              <a:gd name="connsiteY23" fmla="*/ 250893 h 6164592"/>
              <a:gd name="connsiteX24" fmla="*/ 2022561 w 2857253"/>
              <a:gd name="connsiteY24" fmla="*/ 250893 h 6164592"/>
              <a:gd name="connsiteX25" fmla="*/ 2195566 w 2857253"/>
              <a:gd name="connsiteY25" fmla="*/ 178490 h 6164592"/>
              <a:gd name="connsiteX26" fmla="*/ 2230634 w 2857253"/>
              <a:gd name="connsiteY26" fmla="*/ 92074 h 6164592"/>
              <a:gd name="connsiteX27" fmla="*/ 2345192 w 2857253"/>
              <a:gd name="connsiteY27" fmla="*/ 986 h 6164592"/>
              <a:gd name="connsiteX0" fmla="*/ 2345192 w 2857253"/>
              <a:gd name="connsiteY0" fmla="*/ 986 h 6164592"/>
              <a:gd name="connsiteX1" fmla="*/ 2508845 w 2857253"/>
              <a:gd name="connsiteY1" fmla="*/ 10328 h 6164592"/>
              <a:gd name="connsiteX2" fmla="*/ 2663147 w 2857253"/>
              <a:gd name="connsiteY2" fmla="*/ 36020 h 6164592"/>
              <a:gd name="connsiteX3" fmla="*/ 2829139 w 2857253"/>
              <a:gd name="connsiteY3" fmla="*/ 211188 h 6164592"/>
              <a:gd name="connsiteX4" fmla="*/ 2845504 w 2857253"/>
              <a:gd name="connsiteY4" fmla="*/ 554819 h 6164592"/>
              <a:gd name="connsiteX5" fmla="*/ 2851299 w 2857253"/>
              <a:gd name="connsiteY5" fmla="*/ 812870 h 6164592"/>
              <a:gd name="connsiteX6" fmla="*/ 2840828 w 2857253"/>
              <a:gd name="connsiteY6" fmla="*/ 1180456 h 6164592"/>
              <a:gd name="connsiteX7" fmla="*/ 2850180 w 2857253"/>
              <a:gd name="connsiteY7" fmla="*/ 1395330 h 6164592"/>
              <a:gd name="connsiteX8" fmla="*/ 2850180 w 2857253"/>
              <a:gd name="connsiteY8" fmla="*/ 5741852 h 6164592"/>
              <a:gd name="connsiteX9" fmla="*/ 2826801 w 2857253"/>
              <a:gd name="connsiteY9" fmla="*/ 5963732 h 6164592"/>
              <a:gd name="connsiteX10" fmla="*/ 2766015 w 2857253"/>
              <a:gd name="connsiteY10" fmla="*/ 6054820 h 6164592"/>
              <a:gd name="connsiteX11" fmla="*/ 2429356 w 2857253"/>
              <a:gd name="connsiteY11" fmla="*/ 6164592 h 6164592"/>
              <a:gd name="connsiteX12" fmla="*/ 362647 w 2857253"/>
              <a:gd name="connsiteY12" fmla="*/ 6162257 h 6164592"/>
              <a:gd name="connsiteX13" fmla="*/ 103139 w 2857253"/>
              <a:gd name="connsiteY13" fmla="*/ 6078176 h 6164592"/>
              <a:gd name="connsiteX14" fmla="*/ 7285 w 2857253"/>
              <a:gd name="connsiteY14" fmla="*/ 5828268 h 6164592"/>
              <a:gd name="connsiteX15" fmla="*/ 7285 w 2857253"/>
              <a:gd name="connsiteY15" fmla="*/ 3915425 h 6164592"/>
              <a:gd name="connsiteX16" fmla="*/ 7285 w 2857253"/>
              <a:gd name="connsiteY16" fmla="*/ 3214749 h 6164592"/>
              <a:gd name="connsiteX17" fmla="*/ 4947 w 2857253"/>
              <a:gd name="connsiteY17" fmla="*/ 687648 h 6164592"/>
              <a:gd name="connsiteX18" fmla="*/ 2609 w 2857253"/>
              <a:gd name="connsiteY18" fmla="*/ 398035 h 6164592"/>
              <a:gd name="connsiteX19" fmla="*/ 47029 w 2857253"/>
              <a:gd name="connsiteY19" fmla="*/ 152799 h 6164592"/>
              <a:gd name="connsiteX20" fmla="*/ 234062 w 2857253"/>
              <a:gd name="connsiteY20" fmla="*/ 22006 h 6164592"/>
              <a:gd name="connsiteX21" fmla="*/ 545003 w 2857253"/>
              <a:gd name="connsiteY21" fmla="*/ 7993 h 6164592"/>
              <a:gd name="connsiteX22" fmla="*/ 615141 w 2857253"/>
              <a:gd name="connsiteY22" fmla="*/ 85067 h 6164592"/>
              <a:gd name="connsiteX23" fmla="*/ 790484 w 2857253"/>
              <a:gd name="connsiteY23" fmla="*/ 250893 h 6164592"/>
              <a:gd name="connsiteX24" fmla="*/ 2022561 w 2857253"/>
              <a:gd name="connsiteY24" fmla="*/ 250893 h 6164592"/>
              <a:gd name="connsiteX25" fmla="*/ 2195566 w 2857253"/>
              <a:gd name="connsiteY25" fmla="*/ 178490 h 6164592"/>
              <a:gd name="connsiteX26" fmla="*/ 2230634 w 2857253"/>
              <a:gd name="connsiteY26" fmla="*/ 92074 h 6164592"/>
              <a:gd name="connsiteX27" fmla="*/ 2345192 w 2857253"/>
              <a:gd name="connsiteY27" fmla="*/ 986 h 6164592"/>
              <a:gd name="connsiteX0" fmla="*/ 2345192 w 2857253"/>
              <a:gd name="connsiteY0" fmla="*/ 986 h 6164592"/>
              <a:gd name="connsiteX1" fmla="*/ 2508845 w 2857253"/>
              <a:gd name="connsiteY1" fmla="*/ 10328 h 6164592"/>
              <a:gd name="connsiteX2" fmla="*/ 2663147 w 2857253"/>
              <a:gd name="connsiteY2" fmla="*/ 36020 h 6164592"/>
              <a:gd name="connsiteX3" fmla="*/ 2829139 w 2857253"/>
              <a:gd name="connsiteY3" fmla="*/ 211188 h 6164592"/>
              <a:gd name="connsiteX4" fmla="*/ 2845504 w 2857253"/>
              <a:gd name="connsiteY4" fmla="*/ 554819 h 6164592"/>
              <a:gd name="connsiteX5" fmla="*/ 2851299 w 2857253"/>
              <a:gd name="connsiteY5" fmla="*/ 812870 h 6164592"/>
              <a:gd name="connsiteX6" fmla="*/ 2853943 w 2857253"/>
              <a:gd name="connsiteY6" fmla="*/ 1184828 h 6164592"/>
              <a:gd name="connsiteX7" fmla="*/ 2850180 w 2857253"/>
              <a:gd name="connsiteY7" fmla="*/ 1395330 h 6164592"/>
              <a:gd name="connsiteX8" fmla="*/ 2850180 w 2857253"/>
              <a:gd name="connsiteY8" fmla="*/ 5741852 h 6164592"/>
              <a:gd name="connsiteX9" fmla="*/ 2826801 w 2857253"/>
              <a:gd name="connsiteY9" fmla="*/ 5963732 h 6164592"/>
              <a:gd name="connsiteX10" fmla="*/ 2766015 w 2857253"/>
              <a:gd name="connsiteY10" fmla="*/ 6054820 h 6164592"/>
              <a:gd name="connsiteX11" fmla="*/ 2429356 w 2857253"/>
              <a:gd name="connsiteY11" fmla="*/ 6164592 h 6164592"/>
              <a:gd name="connsiteX12" fmla="*/ 362647 w 2857253"/>
              <a:gd name="connsiteY12" fmla="*/ 6162257 h 6164592"/>
              <a:gd name="connsiteX13" fmla="*/ 103139 w 2857253"/>
              <a:gd name="connsiteY13" fmla="*/ 6078176 h 6164592"/>
              <a:gd name="connsiteX14" fmla="*/ 7285 w 2857253"/>
              <a:gd name="connsiteY14" fmla="*/ 5828268 h 6164592"/>
              <a:gd name="connsiteX15" fmla="*/ 7285 w 2857253"/>
              <a:gd name="connsiteY15" fmla="*/ 3915425 h 6164592"/>
              <a:gd name="connsiteX16" fmla="*/ 7285 w 2857253"/>
              <a:gd name="connsiteY16" fmla="*/ 3214749 h 6164592"/>
              <a:gd name="connsiteX17" fmla="*/ 4947 w 2857253"/>
              <a:gd name="connsiteY17" fmla="*/ 687648 h 6164592"/>
              <a:gd name="connsiteX18" fmla="*/ 2609 w 2857253"/>
              <a:gd name="connsiteY18" fmla="*/ 398035 h 6164592"/>
              <a:gd name="connsiteX19" fmla="*/ 47029 w 2857253"/>
              <a:gd name="connsiteY19" fmla="*/ 152799 h 6164592"/>
              <a:gd name="connsiteX20" fmla="*/ 234062 w 2857253"/>
              <a:gd name="connsiteY20" fmla="*/ 22006 h 6164592"/>
              <a:gd name="connsiteX21" fmla="*/ 545003 w 2857253"/>
              <a:gd name="connsiteY21" fmla="*/ 7993 h 6164592"/>
              <a:gd name="connsiteX22" fmla="*/ 615141 w 2857253"/>
              <a:gd name="connsiteY22" fmla="*/ 85067 h 6164592"/>
              <a:gd name="connsiteX23" fmla="*/ 790484 w 2857253"/>
              <a:gd name="connsiteY23" fmla="*/ 250893 h 6164592"/>
              <a:gd name="connsiteX24" fmla="*/ 2022561 w 2857253"/>
              <a:gd name="connsiteY24" fmla="*/ 250893 h 6164592"/>
              <a:gd name="connsiteX25" fmla="*/ 2195566 w 2857253"/>
              <a:gd name="connsiteY25" fmla="*/ 178490 h 6164592"/>
              <a:gd name="connsiteX26" fmla="*/ 2230634 w 2857253"/>
              <a:gd name="connsiteY26" fmla="*/ 92074 h 6164592"/>
              <a:gd name="connsiteX27" fmla="*/ 2345192 w 2857253"/>
              <a:gd name="connsiteY27" fmla="*/ 986 h 6164592"/>
              <a:gd name="connsiteX0" fmla="*/ 2345192 w 2860168"/>
              <a:gd name="connsiteY0" fmla="*/ 986 h 6164592"/>
              <a:gd name="connsiteX1" fmla="*/ 2508845 w 2860168"/>
              <a:gd name="connsiteY1" fmla="*/ 10328 h 6164592"/>
              <a:gd name="connsiteX2" fmla="*/ 2663147 w 2860168"/>
              <a:gd name="connsiteY2" fmla="*/ 36020 h 6164592"/>
              <a:gd name="connsiteX3" fmla="*/ 2829139 w 2860168"/>
              <a:gd name="connsiteY3" fmla="*/ 211188 h 6164592"/>
              <a:gd name="connsiteX4" fmla="*/ 2849875 w 2860168"/>
              <a:gd name="connsiteY4" fmla="*/ 554819 h 6164592"/>
              <a:gd name="connsiteX5" fmla="*/ 2851299 w 2860168"/>
              <a:gd name="connsiteY5" fmla="*/ 812870 h 6164592"/>
              <a:gd name="connsiteX6" fmla="*/ 2853943 w 2860168"/>
              <a:gd name="connsiteY6" fmla="*/ 1184828 h 6164592"/>
              <a:gd name="connsiteX7" fmla="*/ 2850180 w 2860168"/>
              <a:gd name="connsiteY7" fmla="*/ 1395330 h 6164592"/>
              <a:gd name="connsiteX8" fmla="*/ 2850180 w 2860168"/>
              <a:gd name="connsiteY8" fmla="*/ 5741852 h 6164592"/>
              <a:gd name="connsiteX9" fmla="*/ 2826801 w 2860168"/>
              <a:gd name="connsiteY9" fmla="*/ 5963732 h 6164592"/>
              <a:gd name="connsiteX10" fmla="*/ 2766015 w 2860168"/>
              <a:gd name="connsiteY10" fmla="*/ 6054820 h 6164592"/>
              <a:gd name="connsiteX11" fmla="*/ 2429356 w 2860168"/>
              <a:gd name="connsiteY11" fmla="*/ 6164592 h 6164592"/>
              <a:gd name="connsiteX12" fmla="*/ 362647 w 2860168"/>
              <a:gd name="connsiteY12" fmla="*/ 6162257 h 6164592"/>
              <a:gd name="connsiteX13" fmla="*/ 103139 w 2860168"/>
              <a:gd name="connsiteY13" fmla="*/ 6078176 h 6164592"/>
              <a:gd name="connsiteX14" fmla="*/ 7285 w 2860168"/>
              <a:gd name="connsiteY14" fmla="*/ 5828268 h 6164592"/>
              <a:gd name="connsiteX15" fmla="*/ 7285 w 2860168"/>
              <a:gd name="connsiteY15" fmla="*/ 3915425 h 6164592"/>
              <a:gd name="connsiteX16" fmla="*/ 7285 w 2860168"/>
              <a:gd name="connsiteY16" fmla="*/ 3214749 h 6164592"/>
              <a:gd name="connsiteX17" fmla="*/ 4947 w 2860168"/>
              <a:gd name="connsiteY17" fmla="*/ 687648 h 6164592"/>
              <a:gd name="connsiteX18" fmla="*/ 2609 w 2860168"/>
              <a:gd name="connsiteY18" fmla="*/ 398035 h 6164592"/>
              <a:gd name="connsiteX19" fmla="*/ 47029 w 2860168"/>
              <a:gd name="connsiteY19" fmla="*/ 152799 h 6164592"/>
              <a:gd name="connsiteX20" fmla="*/ 234062 w 2860168"/>
              <a:gd name="connsiteY20" fmla="*/ 22006 h 6164592"/>
              <a:gd name="connsiteX21" fmla="*/ 545003 w 2860168"/>
              <a:gd name="connsiteY21" fmla="*/ 7993 h 6164592"/>
              <a:gd name="connsiteX22" fmla="*/ 615141 w 2860168"/>
              <a:gd name="connsiteY22" fmla="*/ 85067 h 6164592"/>
              <a:gd name="connsiteX23" fmla="*/ 790484 w 2860168"/>
              <a:gd name="connsiteY23" fmla="*/ 250893 h 6164592"/>
              <a:gd name="connsiteX24" fmla="*/ 2022561 w 2860168"/>
              <a:gd name="connsiteY24" fmla="*/ 250893 h 6164592"/>
              <a:gd name="connsiteX25" fmla="*/ 2195566 w 2860168"/>
              <a:gd name="connsiteY25" fmla="*/ 178490 h 6164592"/>
              <a:gd name="connsiteX26" fmla="*/ 2230634 w 2860168"/>
              <a:gd name="connsiteY26" fmla="*/ 92074 h 6164592"/>
              <a:gd name="connsiteX27" fmla="*/ 2345192 w 2860168"/>
              <a:gd name="connsiteY27" fmla="*/ 986 h 6164592"/>
              <a:gd name="connsiteX0" fmla="*/ 2345192 w 2854520"/>
              <a:gd name="connsiteY0" fmla="*/ 986 h 6164592"/>
              <a:gd name="connsiteX1" fmla="*/ 2508845 w 2854520"/>
              <a:gd name="connsiteY1" fmla="*/ 10328 h 6164592"/>
              <a:gd name="connsiteX2" fmla="*/ 2663147 w 2854520"/>
              <a:gd name="connsiteY2" fmla="*/ 36020 h 6164592"/>
              <a:gd name="connsiteX3" fmla="*/ 2829139 w 2854520"/>
              <a:gd name="connsiteY3" fmla="*/ 211188 h 6164592"/>
              <a:gd name="connsiteX4" fmla="*/ 2849875 w 2854520"/>
              <a:gd name="connsiteY4" fmla="*/ 554819 h 6164592"/>
              <a:gd name="connsiteX5" fmla="*/ 2851299 w 2854520"/>
              <a:gd name="connsiteY5" fmla="*/ 812870 h 6164592"/>
              <a:gd name="connsiteX6" fmla="*/ 2853943 w 2854520"/>
              <a:gd name="connsiteY6" fmla="*/ 1184828 h 6164592"/>
              <a:gd name="connsiteX7" fmla="*/ 2850180 w 2854520"/>
              <a:gd name="connsiteY7" fmla="*/ 1395330 h 6164592"/>
              <a:gd name="connsiteX8" fmla="*/ 2850180 w 2854520"/>
              <a:gd name="connsiteY8" fmla="*/ 5741852 h 6164592"/>
              <a:gd name="connsiteX9" fmla="*/ 2826801 w 2854520"/>
              <a:gd name="connsiteY9" fmla="*/ 5963732 h 6164592"/>
              <a:gd name="connsiteX10" fmla="*/ 2766015 w 2854520"/>
              <a:gd name="connsiteY10" fmla="*/ 6054820 h 6164592"/>
              <a:gd name="connsiteX11" fmla="*/ 2429356 w 2854520"/>
              <a:gd name="connsiteY11" fmla="*/ 6164592 h 6164592"/>
              <a:gd name="connsiteX12" fmla="*/ 362647 w 2854520"/>
              <a:gd name="connsiteY12" fmla="*/ 6162257 h 6164592"/>
              <a:gd name="connsiteX13" fmla="*/ 103139 w 2854520"/>
              <a:gd name="connsiteY13" fmla="*/ 6078176 h 6164592"/>
              <a:gd name="connsiteX14" fmla="*/ 7285 w 2854520"/>
              <a:gd name="connsiteY14" fmla="*/ 5828268 h 6164592"/>
              <a:gd name="connsiteX15" fmla="*/ 7285 w 2854520"/>
              <a:gd name="connsiteY15" fmla="*/ 3915425 h 6164592"/>
              <a:gd name="connsiteX16" fmla="*/ 7285 w 2854520"/>
              <a:gd name="connsiteY16" fmla="*/ 3214749 h 6164592"/>
              <a:gd name="connsiteX17" fmla="*/ 4947 w 2854520"/>
              <a:gd name="connsiteY17" fmla="*/ 687648 h 6164592"/>
              <a:gd name="connsiteX18" fmla="*/ 2609 w 2854520"/>
              <a:gd name="connsiteY18" fmla="*/ 398035 h 6164592"/>
              <a:gd name="connsiteX19" fmla="*/ 47029 w 2854520"/>
              <a:gd name="connsiteY19" fmla="*/ 152799 h 6164592"/>
              <a:gd name="connsiteX20" fmla="*/ 234062 w 2854520"/>
              <a:gd name="connsiteY20" fmla="*/ 22006 h 6164592"/>
              <a:gd name="connsiteX21" fmla="*/ 545003 w 2854520"/>
              <a:gd name="connsiteY21" fmla="*/ 7993 h 6164592"/>
              <a:gd name="connsiteX22" fmla="*/ 615141 w 2854520"/>
              <a:gd name="connsiteY22" fmla="*/ 85067 h 6164592"/>
              <a:gd name="connsiteX23" fmla="*/ 790484 w 2854520"/>
              <a:gd name="connsiteY23" fmla="*/ 250893 h 6164592"/>
              <a:gd name="connsiteX24" fmla="*/ 2022561 w 2854520"/>
              <a:gd name="connsiteY24" fmla="*/ 250893 h 6164592"/>
              <a:gd name="connsiteX25" fmla="*/ 2195566 w 2854520"/>
              <a:gd name="connsiteY25" fmla="*/ 178490 h 6164592"/>
              <a:gd name="connsiteX26" fmla="*/ 2230634 w 2854520"/>
              <a:gd name="connsiteY26" fmla="*/ 92074 h 6164592"/>
              <a:gd name="connsiteX27" fmla="*/ 2345192 w 2854520"/>
              <a:gd name="connsiteY27" fmla="*/ 986 h 6164592"/>
              <a:gd name="connsiteX0" fmla="*/ 2345192 w 2854520"/>
              <a:gd name="connsiteY0" fmla="*/ 986 h 6164592"/>
              <a:gd name="connsiteX1" fmla="*/ 2508845 w 2854520"/>
              <a:gd name="connsiteY1" fmla="*/ 10328 h 6164592"/>
              <a:gd name="connsiteX2" fmla="*/ 2663147 w 2854520"/>
              <a:gd name="connsiteY2" fmla="*/ 36020 h 6164592"/>
              <a:gd name="connsiteX3" fmla="*/ 2829139 w 2854520"/>
              <a:gd name="connsiteY3" fmla="*/ 211188 h 6164592"/>
              <a:gd name="connsiteX4" fmla="*/ 2849875 w 2854520"/>
              <a:gd name="connsiteY4" fmla="*/ 554819 h 6164592"/>
              <a:gd name="connsiteX5" fmla="*/ 2851299 w 2854520"/>
              <a:gd name="connsiteY5" fmla="*/ 812870 h 6164592"/>
              <a:gd name="connsiteX6" fmla="*/ 2853943 w 2854520"/>
              <a:gd name="connsiteY6" fmla="*/ 1184828 h 6164592"/>
              <a:gd name="connsiteX7" fmla="*/ 2850180 w 2854520"/>
              <a:gd name="connsiteY7" fmla="*/ 1395330 h 6164592"/>
              <a:gd name="connsiteX8" fmla="*/ 2850180 w 2854520"/>
              <a:gd name="connsiteY8" fmla="*/ 5741852 h 6164592"/>
              <a:gd name="connsiteX9" fmla="*/ 2826801 w 2854520"/>
              <a:gd name="connsiteY9" fmla="*/ 5963732 h 6164592"/>
              <a:gd name="connsiteX10" fmla="*/ 2766015 w 2854520"/>
              <a:gd name="connsiteY10" fmla="*/ 6054820 h 6164592"/>
              <a:gd name="connsiteX11" fmla="*/ 2429356 w 2854520"/>
              <a:gd name="connsiteY11" fmla="*/ 6164592 h 6164592"/>
              <a:gd name="connsiteX12" fmla="*/ 362647 w 2854520"/>
              <a:gd name="connsiteY12" fmla="*/ 6162257 h 6164592"/>
              <a:gd name="connsiteX13" fmla="*/ 103139 w 2854520"/>
              <a:gd name="connsiteY13" fmla="*/ 6078176 h 6164592"/>
              <a:gd name="connsiteX14" fmla="*/ 7285 w 2854520"/>
              <a:gd name="connsiteY14" fmla="*/ 5828268 h 6164592"/>
              <a:gd name="connsiteX15" fmla="*/ 7285 w 2854520"/>
              <a:gd name="connsiteY15" fmla="*/ 3915425 h 6164592"/>
              <a:gd name="connsiteX16" fmla="*/ 7285 w 2854520"/>
              <a:gd name="connsiteY16" fmla="*/ 3214749 h 6164592"/>
              <a:gd name="connsiteX17" fmla="*/ 4947 w 2854520"/>
              <a:gd name="connsiteY17" fmla="*/ 687648 h 6164592"/>
              <a:gd name="connsiteX18" fmla="*/ 2609 w 2854520"/>
              <a:gd name="connsiteY18" fmla="*/ 398035 h 6164592"/>
              <a:gd name="connsiteX19" fmla="*/ 47029 w 2854520"/>
              <a:gd name="connsiteY19" fmla="*/ 152799 h 6164592"/>
              <a:gd name="connsiteX20" fmla="*/ 234062 w 2854520"/>
              <a:gd name="connsiteY20" fmla="*/ 22006 h 6164592"/>
              <a:gd name="connsiteX21" fmla="*/ 545003 w 2854520"/>
              <a:gd name="connsiteY21" fmla="*/ 7993 h 6164592"/>
              <a:gd name="connsiteX22" fmla="*/ 615141 w 2854520"/>
              <a:gd name="connsiteY22" fmla="*/ 85067 h 6164592"/>
              <a:gd name="connsiteX23" fmla="*/ 790484 w 2854520"/>
              <a:gd name="connsiteY23" fmla="*/ 250893 h 6164592"/>
              <a:gd name="connsiteX24" fmla="*/ 2022561 w 2854520"/>
              <a:gd name="connsiteY24" fmla="*/ 250893 h 6164592"/>
              <a:gd name="connsiteX25" fmla="*/ 2195566 w 2854520"/>
              <a:gd name="connsiteY25" fmla="*/ 178490 h 6164592"/>
              <a:gd name="connsiteX26" fmla="*/ 2230634 w 2854520"/>
              <a:gd name="connsiteY26" fmla="*/ 92074 h 6164592"/>
              <a:gd name="connsiteX27" fmla="*/ 2345192 w 2854520"/>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52799 h 6164592"/>
              <a:gd name="connsiteX20" fmla="*/ 234062 w 2860975"/>
              <a:gd name="connsiteY20" fmla="*/ 22006 h 6164592"/>
              <a:gd name="connsiteX21" fmla="*/ 545003 w 2860975"/>
              <a:gd name="connsiteY21" fmla="*/ 7993 h 6164592"/>
              <a:gd name="connsiteX22" fmla="*/ 615141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52799 h 6164592"/>
              <a:gd name="connsiteX20" fmla="*/ 234062 w 2860975"/>
              <a:gd name="connsiteY20" fmla="*/ 22006 h 6164592"/>
              <a:gd name="connsiteX21" fmla="*/ 545003 w 2860975"/>
              <a:gd name="connsiteY21" fmla="*/ 7993 h 6164592"/>
              <a:gd name="connsiteX22" fmla="*/ 615141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52799 h 6164592"/>
              <a:gd name="connsiteX20" fmla="*/ 234062 w 2860975"/>
              <a:gd name="connsiteY20" fmla="*/ 22006 h 6164592"/>
              <a:gd name="connsiteX21" fmla="*/ 545003 w 2860975"/>
              <a:gd name="connsiteY21" fmla="*/ 7993 h 6164592"/>
              <a:gd name="connsiteX22" fmla="*/ 641370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52799 h 6164592"/>
              <a:gd name="connsiteX20" fmla="*/ 234062 w 2860975"/>
              <a:gd name="connsiteY20" fmla="*/ 39492 h 6164592"/>
              <a:gd name="connsiteX21" fmla="*/ 545003 w 2860975"/>
              <a:gd name="connsiteY21" fmla="*/ 7993 h 6164592"/>
              <a:gd name="connsiteX22" fmla="*/ 641370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79028 h 6164592"/>
              <a:gd name="connsiteX20" fmla="*/ 234062 w 2860975"/>
              <a:gd name="connsiteY20" fmla="*/ 39492 h 6164592"/>
              <a:gd name="connsiteX21" fmla="*/ 545003 w 2860975"/>
              <a:gd name="connsiteY21" fmla="*/ 7993 h 6164592"/>
              <a:gd name="connsiteX22" fmla="*/ 641370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79028 h 6164592"/>
              <a:gd name="connsiteX20" fmla="*/ 234062 w 2860975"/>
              <a:gd name="connsiteY20" fmla="*/ 39492 h 6164592"/>
              <a:gd name="connsiteX21" fmla="*/ 545003 w 2860975"/>
              <a:gd name="connsiteY21" fmla="*/ 21107 h 6164592"/>
              <a:gd name="connsiteX22" fmla="*/ 641370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790484 w 2860975"/>
              <a:gd name="connsiteY23" fmla="*/ 242419 h 6156118"/>
              <a:gd name="connsiteX24" fmla="*/ 2022561 w 2860975"/>
              <a:gd name="connsiteY24" fmla="*/ 242419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790484 w 2860975"/>
              <a:gd name="connsiteY23" fmla="*/ 242419 h 6156118"/>
              <a:gd name="connsiteX24" fmla="*/ 2022561 w 2860975"/>
              <a:gd name="connsiteY24" fmla="*/ 242419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790484 w 2860975"/>
              <a:gd name="connsiteY23" fmla="*/ 242419 h 6156118"/>
              <a:gd name="connsiteX24" fmla="*/ 2022561 w 2860975"/>
              <a:gd name="connsiteY24" fmla="*/ 242419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790484 w 2860975"/>
              <a:gd name="connsiteY23" fmla="*/ 242419 h 6156118"/>
              <a:gd name="connsiteX24" fmla="*/ 2022561 w 2860975"/>
              <a:gd name="connsiteY24" fmla="*/ 242419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2561 w 2860975"/>
              <a:gd name="connsiteY24" fmla="*/ 242419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60776 w 2860975"/>
              <a:gd name="connsiteY25" fmla="*/ 163057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60776 w 2860975"/>
              <a:gd name="connsiteY25" fmla="*/ 163057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60776 w 2860975"/>
              <a:gd name="connsiteY25" fmla="*/ 163057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60776 w 2860975"/>
              <a:gd name="connsiteY25" fmla="*/ 163057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60776 w 2860975"/>
              <a:gd name="connsiteY25" fmla="*/ 163057 h 6156118"/>
              <a:gd name="connsiteX26" fmla="*/ 2205413 w 2860975"/>
              <a:gd name="connsiteY26" fmla="*/ 89905 h 6156118"/>
              <a:gd name="connsiteX27" fmla="*/ 2340821 w 2860975"/>
              <a:gd name="connsiteY27" fmla="*/ 5626 h 6156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860975" h="6156118">
                <a:moveTo>
                  <a:pt x="2340821" y="5626"/>
                </a:moveTo>
                <a:cubicBezTo>
                  <a:pt x="2394593" y="10297"/>
                  <a:pt x="2455073" y="-5153"/>
                  <a:pt x="2508845" y="1854"/>
                </a:cubicBezTo>
                <a:cubicBezTo>
                  <a:pt x="2560279" y="6525"/>
                  <a:pt x="2614051" y="11197"/>
                  <a:pt x="2663147" y="27546"/>
                </a:cubicBezTo>
                <a:cubicBezTo>
                  <a:pt x="2749650" y="55573"/>
                  <a:pt x="2805759" y="116298"/>
                  <a:pt x="2829139" y="202714"/>
                </a:cubicBezTo>
                <a:cubicBezTo>
                  <a:pt x="2861869" y="317158"/>
                  <a:pt x="2864207" y="422859"/>
                  <a:pt x="2858618" y="541973"/>
                </a:cubicBezTo>
                <a:cubicBezTo>
                  <a:pt x="2851299" y="627790"/>
                  <a:pt x="2852078" y="698666"/>
                  <a:pt x="2851299" y="804396"/>
                </a:cubicBezTo>
                <a:cubicBezTo>
                  <a:pt x="2850520" y="910126"/>
                  <a:pt x="2851605" y="1050232"/>
                  <a:pt x="2853943" y="1176354"/>
                </a:cubicBezTo>
                <a:cubicBezTo>
                  <a:pt x="2856281" y="1248757"/>
                  <a:pt x="2850807" y="627352"/>
                  <a:pt x="2850180" y="1386856"/>
                </a:cubicBezTo>
                <a:cubicBezTo>
                  <a:pt x="2849553" y="2146360"/>
                  <a:pt x="2850180" y="4284537"/>
                  <a:pt x="2850180" y="5733378"/>
                </a:cubicBezTo>
                <a:cubicBezTo>
                  <a:pt x="2850180" y="5808116"/>
                  <a:pt x="2840828" y="5882855"/>
                  <a:pt x="2826801" y="5955258"/>
                </a:cubicBezTo>
                <a:cubicBezTo>
                  <a:pt x="2819787" y="5987956"/>
                  <a:pt x="2791732" y="6020654"/>
                  <a:pt x="2766015" y="6046346"/>
                </a:cubicBezTo>
                <a:cubicBezTo>
                  <a:pt x="2674837" y="6142105"/>
                  <a:pt x="2555603" y="6156118"/>
                  <a:pt x="2429356" y="6156118"/>
                </a:cubicBezTo>
                <a:lnTo>
                  <a:pt x="362647" y="6153783"/>
                </a:lnTo>
                <a:cubicBezTo>
                  <a:pt x="269130" y="6153783"/>
                  <a:pt x="177952" y="6139769"/>
                  <a:pt x="103139" y="6069702"/>
                </a:cubicBezTo>
                <a:cubicBezTo>
                  <a:pt x="33002" y="6001970"/>
                  <a:pt x="7285" y="5913218"/>
                  <a:pt x="7285" y="5819794"/>
                </a:cubicBezTo>
                <a:cubicBezTo>
                  <a:pt x="4947" y="5182180"/>
                  <a:pt x="7285" y="4544565"/>
                  <a:pt x="7285" y="3906951"/>
                </a:cubicBezTo>
                <a:lnTo>
                  <a:pt x="7285" y="3206275"/>
                </a:lnTo>
                <a:cubicBezTo>
                  <a:pt x="7285" y="2363130"/>
                  <a:pt x="7285" y="1522319"/>
                  <a:pt x="4947" y="679174"/>
                </a:cubicBezTo>
                <a:cubicBezTo>
                  <a:pt x="4947" y="583415"/>
                  <a:pt x="-4405" y="485320"/>
                  <a:pt x="2609" y="389561"/>
                </a:cubicBezTo>
                <a:cubicBezTo>
                  <a:pt x="7285" y="307816"/>
                  <a:pt x="23650" y="249964"/>
                  <a:pt x="47029" y="170554"/>
                </a:cubicBezTo>
                <a:cubicBezTo>
                  <a:pt x="75084" y="84137"/>
                  <a:pt x="151066" y="57338"/>
                  <a:pt x="234062" y="31018"/>
                </a:cubicBezTo>
                <a:cubicBezTo>
                  <a:pt x="317058" y="4698"/>
                  <a:pt x="477118" y="5037"/>
                  <a:pt x="545003" y="12633"/>
                </a:cubicBezTo>
                <a:cubicBezTo>
                  <a:pt x="612888" y="20229"/>
                  <a:pt x="636694" y="29881"/>
                  <a:pt x="641370" y="76593"/>
                </a:cubicBezTo>
                <a:cubicBezTo>
                  <a:pt x="687972" y="205752"/>
                  <a:pt x="791992" y="193111"/>
                  <a:pt x="853104" y="193715"/>
                </a:cubicBezTo>
                <a:lnTo>
                  <a:pt x="2029518" y="193715"/>
                </a:lnTo>
                <a:cubicBezTo>
                  <a:pt x="2064606" y="188605"/>
                  <a:pt x="2108420" y="181980"/>
                  <a:pt x="2160776" y="163057"/>
                </a:cubicBezTo>
                <a:cubicBezTo>
                  <a:pt x="2179479" y="137366"/>
                  <a:pt x="2200737" y="120267"/>
                  <a:pt x="2205413" y="89905"/>
                </a:cubicBezTo>
                <a:cubicBezTo>
                  <a:pt x="2217103" y="22173"/>
                  <a:pt x="2251164" y="11733"/>
                  <a:pt x="2340821" y="5626"/>
                </a:cubicBezTo>
                <a:close/>
              </a:path>
            </a:pathLst>
          </a:custGeom>
          <a:blipFill>
            <a:blip r:embed="rId5"/>
            <a:stretch>
              <a:fillRect l="-121001" r="-138446" b="-5101"/>
            </a:stretch>
          </a:blipFill>
        </p:spPr>
        <p:txBody>
          <a:bodyPr wrap="square" anchor="ctr" anchorCtr="1">
            <a:noAutofit/>
          </a:bodyPr>
          <a:lstStyle>
            <a:lvl1pPr marL="0" indent="0">
              <a:buNone/>
              <a:defRPr/>
            </a:lvl1pPr>
          </a:lstStyle>
          <a:p>
            <a:endParaRPr lang="en-US"/>
          </a:p>
        </p:txBody>
      </p:sp>
      <p:sp>
        <p:nvSpPr>
          <p:cNvPr id="66" name="Picture Placeholder 3">
            <a:extLst>
              <a:ext uri="{FF2B5EF4-FFF2-40B4-BE49-F238E27FC236}">
                <a16:creationId xmlns:a16="http://schemas.microsoft.com/office/drawing/2014/main" id="{C4C777AA-5D57-9A44-8376-B14CBB20A45E}"/>
              </a:ext>
            </a:extLst>
          </p:cNvPr>
          <p:cNvSpPr>
            <a:spLocks noGrp="1" noChangeAspect="1"/>
          </p:cNvSpPr>
          <p:nvPr>
            <p:ph type="pic" sz="quarter" idx="18"/>
          </p:nvPr>
        </p:nvSpPr>
        <p:spPr>
          <a:xfrm>
            <a:off x="6398467" y="-1447646"/>
            <a:ext cx="1440599" cy="3099816"/>
          </a:xfrm>
          <a:custGeom>
            <a:avLst/>
            <a:gdLst>
              <a:gd name="connsiteX0" fmla="*/ 2345192 w 2857253"/>
              <a:gd name="connsiteY0" fmla="*/ 986 h 6164592"/>
              <a:gd name="connsiteX1" fmla="*/ 2508845 w 2857253"/>
              <a:gd name="connsiteY1" fmla="*/ 10328 h 6164592"/>
              <a:gd name="connsiteX2" fmla="*/ 2663147 w 2857253"/>
              <a:gd name="connsiteY2" fmla="*/ 36020 h 6164592"/>
              <a:gd name="connsiteX3" fmla="*/ 2829139 w 2857253"/>
              <a:gd name="connsiteY3" fmla="*/ 211188 h 6164592"/>
              <a:gd name="connsiteX4" fmla="*/ 2845504 w 2857253"/>
              <a:gd name="connsiteY4" fmla="*/ 559190 h 6164592"/>
              <a:gd name="connsiteX5" fmla="*/ 2833814 w 2857253"/>
              <a:gd name="connsiteY5" fmla="*/ 799756 h 6164592"/>
              <a:gd name="connsiteX6" fmla="*/ 2840828 w 2857253"/>
              <a:gd name="connsiteY6" fmla="*/ 1180456 h 6164592"/>
              <a:gd name="connsiteX7" fmla="*/ 2850180 w 2857253"/>
              <a:gd name="connsiteY7" fmla="*/ 1395330 h 6164592"/>
              <a:gd name="connsiteX8" fmla="*/ 2850180 w 2857253"/>
              <a:gd name="connsiteY8" fmla="*/ 5741852 h 6164592"/>
              <a:gd name="connsiteX9" fmla="*/ 2826801 w 2857253"/>
              <a:gd name="connsiteY9" fmla="*/ 5963732 h 6164592"/>
              <a:gd name="connsiteX10" fmla="*/ 2766015 w 2857253"/>
              <a:gd name="connsiteY10" fmla="*/ 6054820 h 6164592"/>
              <a:gd name="connsiteX11" fmla="*/ 2429356 w 2857253"/>
              <a:gd name="connsiteY11" fmla="*/ 6164592 h 6164592"/>
              <a:gd name="connsiteX12" fmla="*/ 362647 w 2857253"/>
              <a:gd name="connsiteY12" fmla="*/ 6162257 h 6164592"/>
              <a:gd name="connsiteX13" fmla="*/ 103139 w 2857253"/>
              <a:gd name="connsiteY13" fmla="*/ 6078176 h 6164592"/>
              <a:gd name="connsiteX14" fmla="*/ 7285 w 2857253"/>
              <a:gd name="connsiteY14" fmla="*/ 5828268 h 6164592"/>
              <a:gd name="connsiteX15" fmla="*/ 7285 w 2857253"/>
              <a:gd name="connsiteY15" fmla="*/ 3915425 h 6164592"/>
              <a:gd name="connsiteX16" fmla="*/ 7285 w 2857253"/>
              <a:gd name="connsiteY16" fmla="*/ 3214749 h 6164592"/>
              <a:gd name="connsiteX17" fmla="*/ 4947 w 2857253"/>
              <a:gd name="connsiteY17" fmla="*/ 687648 h 6164592"/>
              <a:gd name="connsiteX18" fmla="*/ 2609 w 2857253"/>
              <a:gd name="connsiteY18" fmla="*/ 398035 h 6164592"/>
              <a:gd name="connsiteX19" fmla="*/ 47029 w 2857253"/>
              <a:gd name="connsiteY19" fmla="*/ 152799 h 6164592"/>
              <a:gd name="connsiteX20" fmla="*/ 234062 w 2857253"/>
              <a:gd name="connsiteY20" fmla="*/ 22006 h 6164592"/>
              <a:gd name="connsiteX21" fmla="*/ 545003 w 2857253"/>
              <a:gd name="connsiteY21" fmla="*/ 7993 h 6164592"/>
              <a:gd name="connsiteX22" fmla="*/ 615141 w 2857253"/>
              <a:gd name="connsiteY22" fmla="*/ 85067 h 6164592"/>
              <a:gd name="connsiteX23" fmla="*/ 790484 w 2857253"/>
              <a:gd name="connsiteY23" fmla="*/ 250893 h 6164592"/>
              <a:gd name="connsiteX24" fmla="*/ 2022561 w 2857253"/>
              <a:gd name="connsiteY24" fmla="*/ 250893 h 6164592"/>
              <a:gd name="connsiteX25" fmla="*/ 2195566 w 2857253"/>
              <a:gd name="connsiteY25" fmla="*/ 178490 h 6164592"/>
              <a:gd name="connsiteX26" fmla="*/ 2230634 w 2857253"/>
              <a:gd name="connsiteY26" fmla="*/ 92074 h 6164592"/>
              <a:gd name="connsiteX27" fmla="*/ 2345192 w 2857253"/>
              <a:gd name="connsiteY27" fmla="*/ 986 h 6164592"/>
              <a:gd name="connsiteX0" fmla="*/ 2345192 w 2857253"/>
              <a:gd name="connsiteY0" fmla="*/ 986 h 6164592"/>
              <a:gd name="connsiteX1" fmla="*/ 2508845 w 2857253"/>
              <a:gd name="connsiteY1" fmla="*/ 10328 h 6164592"/>
              <a:gd name="connsiteX2" fmla="*/ 2663147 w 2857253"/>
              <a:gd name="connsiteY2" fmla="*/ 36020 h 6164592"/>
              <a:gd name="connsiteX3" fmla="*/ 2829139 w 2857253"/>
              <a:gd name="connsiteY3" fmla="*/ 211188 h 6164592"/>
              <a:gd name="connsiteX4" fmla="*/ 2845504 w 2857253"/>
              <a:gd name="connsiteY4" fmla="*/ 554819 h 6164592"/>
              <a:gd name="connsiteX5" fmla="*/ 2833814 w 2857253"/>
              <a:gd name="connsiteY5" fmla="*/ 799756 h 6164592"/>
              <a:gd name="connsiteX6" fmla="*/ 2840828 w 2857253"/>
              <a:gd name="connsiteY6" fmla="*/ 1180456 h 6164592"/>
              <a:gd name="connsiteX7" fmla="*/ 2850180 w 2857253"/>
              <a:gd name="connsiteY7" fmla="*/ 1395330 h 6164592"/>
              <a:gd name="connsiteX8" fmla="*/ 2850180 w 2857253"/>
              <a:gd name="connsiteY8" fmla="*/ 5741852 h 6164592"/>
              <a:gd name="connsiteX9" fmla="*/ 2826801 w 2857253"/>
              <a:gd name="connsiteY9" fmla="*/ 5963732 h 6164592"/>
              <a:gd name="connsiteX10" fmla="*/ 2766015 w 2857253"/>
              <a:gd name="connsiteY10" fmla="*/ 6054820 h 6164592"/>
              <a:gd name="connsiteX11" fmla="*/ 2429356 w 2857253"/>
              <a:gd name="connsiteY11" fmla="*/ 6164592 h 6164592"/>
              <a:gd name="connsiteX12" fmla="*/ 362647 w 2857253"/>
              <a:gd name="connsiteY12" fmla="*/ 6162257 h 6164592"/>
              <a:gd name="connsiteX13" fmla="*/ 103139 w 2857253"/>
              <a:gd name="connsiteY13" fmla="*/ 6078176 h 6164592"/>
              <a:gd name="connsiteX14" fmla="*/ 7285 w 2857253"/>
              <a:gd name="connsiteY14" fmla="*/ 5828268 h 6164592"/>
              <a:gd name="connsiteX15" fmla="*/ 7285 w 2857253"/>
              <a:gd name="connsiteY15" fmla="*/ 3915425 h 6164592"/>
              <a:gd name="connsiteX16" fmla="*/ 7285 w 2857253"/>
              <a:gd name="connsiteY16" fmla="*/ 3214749 h 6164592"/>
              <a:gd name="connsiteX17" fmla="*/ 4947 w 2857253"/>
              <a:gd name="connsiteY17" fmla="*/ 687648 h 6164592"/>
              <a:gd name="connsiteX18" fmla="*/ 2609 w 2857253"/>
              <a:gd name="connsiteY18" fmla="*/ 398035 h 6164592"/>
              <a:gd name="connsiteX19" fmla="*/ 47029 w 2857253"/>
              <a:gd name="connsiteY19" fmla="*/ 152799 h 6164592"/>
              <a:gd name="connsiteX20" fmla="*/ 234062 w 2857253"/>
              <a:gd name="connsiteY20" fmla="*/ 22006 h 6164592"/>
              <a:gd name="connsiteX21" fmla="*/ 545003 w 2857253"/>
              <a:gd name="connsiteY21" fmla="*/ 7993 h 6164592"/>
              <a:gd name="connsiteX22" fmla="*/ 615141 w 2857253"/>
              <a:gd name="connsiteY22" fmla="*/ 85067 h 6164592"/>
              <a:gd name="connsiteX23" fmla="*/ 790484 w 2857253"/>
              <a:gd name="connsiteY23" fmla="*/ 250893 h 6164592"/>
              <a:gd name="connsiteX24" fmla="*/ 2022561 w 2857253"/>
              <a:gd name="connsiteY24" fmla="*/ 250893 h 6164592"/>
              <a:gd name="connsiteX25" fmla="*/ 2195566 w 2857253"/>
              <a:gd name="connsiteY25" fmla="*/ 178490 h 6164592"/>
              <a:gd name="connsiteX26" fmla="*/ 2230634 w 2857253"/>
              <a:gd name="connsiteY26" fmla="*/ 92074 h 6164592"/>
              <a:gd name="connsiteX27" fmla="*/ 2345192 w 2857253"/>
              <a:gd name="connsiteY27" fmla="*/ 986 h 6164592"/>
              <a:gd name="connsiteX0" fmla="*/ 2345192 w 2857253"/>
              <a:gd name="connsiteY0" fmla="*/ 986 h 6164592"/>
              <a:gd name="connsiteX1" fmla="*/ 2508845 w 2857253"/>
              <a:gd name="connsiteY1" fmla="*/ 10328 h 6164592"/>
              <a:gd name="connsiteX2" fmla="*/ 2663147 w 2857253"/>
              <a:gd name="connsiteY2" fmla="*/ 36020 h 6164592"/>
              <a:gd name="connsiteX3" fmla="*/ 2829139 w 2857253"/>
              <a:gd name="connsiteY3" fmla="*/ 211188 h 6164592"/>
              <a:gd name="connsiteX4" fmla="*/ 2845504 w 2857253"/>
              <a:gd name="connsiteY4" fmla="*/ 554819 h 6164592"/>
              <a:gd name="connsiteX5" fmla="*/ 2851299 w 2857253"/>
              <a:gd name="connsiteY5" fmla="*/ 812870 h 6164592"/>
              <a:gd name="connsiteX6" fmla="*/ 2840828 w 2857253"/>
              <a:gd name="connsiteY6" fmla="*/ 1180456 h 6164592"/>
              <a:gd name="connsiteX7" fmla="*/ 2850180 w 2857253"/>
              <a:gd name="connsiteY7" fmla="*/ 1395330 h 6164592"/>
              <a:gd name="connsiteX8" fmla="*/ 2850180 w 2857253"/>
              <a:gd name="connsiteY8" fmla="*/ 5741852 h 6164592"/>
              <a:gd name="connsiteX9" fmla="*/ 2826801 w 2857253"/>
              <a:gd name="connsiteY9" fmla="*/ 5963732 h 6164592"/>
              <a:gd name="connsiteX10" fmla="*/ 2766015 w 2857253"/>
              <a:gd name="connsiteY10" fmla="*/ 6054820 h 6164592"/>
              <a:gd name="connsiteX11" fmla="*/ 2429356 w 2857253"/>
              <a:gd name="connsiteY11" fmla="*/ 6164592 h 6164592"/>
              <a:gd name="connsiteX12" fmla="*/ 362647 w 2857253"/>
              <a:gd name="connsiteY12" fmla="*/ 6162257 h 6164592"/>
              <a:gd name="connsiteX13" fmla="*/ 103139 w 2857253"/>
              <a:gd name="connsiteY13" fmla="*/ 6078176 h 6164592"/>
              <a:gd name="connsiteX14" fmla="*/ 7285 w 2857253"/>
              <a:gd name="connsiteY14" fmla="*/ 5828268 h 6164592"/>
              <a:gd name="connsiteX15" fmla="*/ 7285 w 2857253"/>
              <a:gd name="connsiteY15" fmla="*/ 3915425 h 6164592"/>
              <a:gd name="connsiteX16" fmla="*/ 7285 w 2857253"/>
              <a:gd name="connsiteY16" fmla="*/ 3214749 h 6164592"/>
              <a:gd name="connsiteX17" fmla="*/ 4947 w 2857253"/>
              <a:gd name="connsiteY17" fmla="*/ 687648 h 6164592"/>
              <a:gd name="connsiteX18" fmla="*/ 2609 w 2857253"/>
              <a:gd name="connsiteY18" fmla="*/ 398035 h 6164592"/>
              <a:gd name="connsiteX19" fmla="*/ 47029 w 2857253"/>
              <a:gd name="connsiteY19" fmla="*/ 152799 h 6164592"/>
              <a:gd name="connsiteX20" fmla="*/ 234062 w 2857253"/>
              <a:gd name="connsiteY20" fmla="*/ 22006 h 6164592"/>
              <a:gd name="connsiteX21" fmla="*/ 545003 w 2857253"/>
              <a:gd name="connsiteY21" fmla="*/ 7993 h 6164592"/>
              <a:gd name="connsiteX22" fmla="*/ 615141 w 2857253"/>
              <a:gd name="connsiteY22" fmla="*/ 85067 h 6164592"/>
              <a:gd name="connsiteX23" fmla="*/ 790484 w 2857253"/>
              <a:gd name="connsiteY23" fmla="*/ 250893 h 6164592"/>
              <a:gd name="connsiteX24" fmla="*/ 2022561 w 2857253"/>
              <a:gd name="connsiteY24" fmla="*/ 250893 h 6164592"/>
              <a:gd name="connsiteX25" fmla="*/ 2195566 w 2857253"/>
              <a:gd name="connsiteY25" fmla="*/ 178490 h 6164592"/>
              <a:gd name="connsiteX26" fmla="*/ 2230634 w 2857253"/>
              <a:gd name="connsiteY26" fmla="*/ 92074 h 6164592"/>
              <a:gd name="connsiteX27" fmla="*/ 2345192 w 2857253"/>
              <a:gd name="connsiteY27" fmla="*/ 986 h 6164592"/>
              <a:gd name="connsiteX0" fmla="*/ 2345192 w 2857253"/>
              <a:gd name="connsiteY0" fmla="*/ 986 h 6164592"/>
              <a:gd name="connsiteX1" fmla="*/ 2508845 w 2857253"/>
              <a:gd name="connsiteY1" fmla="*/ 10328 h 6164592"/>
              <a:gd name="connsiteX2" fmla="*/ 2663147 w 2857253"/>
              <a:gd name="connsiteY2" fmla="*/ 36020 h 6164592"/>
              <a:gd name="connsiteX3" fmla="*/ 2829139 w 2857253"/>
              <a:gd name="connsiteY3" fmla="*/ 211188 h 6164592"/>
              <a:gd name="connsiteX4" fmla="*/ 2845504 w 2857253"/>
              <a:gd name="connsiteY4" fmla="*/ 554819 h 6164592"/>
              <a:gd name="connsiteX5" fmla="*/ 2851299 w 2857253"/>
              <a:gd name="connsiteY5" fmla="*/ 812870 h 6164592"/>
              <a:gd name="connsiteX6" fmla="*/ 2853943 w 2857253"/>
              <a:gd name="connsiteY6" fmla="*/ 1184828 h 6164592"/>
              <a:gd name="connsiteX7" fmla="*/ 2850180 w 2857253"/>
              <a:gd name="connsiteY7" fmla="*/ 1395330 h 6164592"/>
              <a:gd name="connsiteX8" fmla="*/ 2850180 w 2857253"/>
              <a:gd name="connsiteY8" fmla="*/ 5741852 h 6164592"/>
              <a:gd name="connsiteX9" fmla="*/ 2826801 w 2857253"/>
              <a:gd name="connsiteY9" fmla="*/ 5963732 h 6164592"/>
              <a:gd name="connsiteX10" fmla="*/ 2766015 w 2857253"/>
              <a:gd name="connsiteY10" fmla="*/ 6054820 h 6164592"/>
              <a:gd name="connsiteX11" fmla="*/ 2429356 w 2857253"/>
              <a:gd name="connsiteY11" fmla="*/ 6164592 h 6164592"/>
              <a:gd name="connsiteX12" fmla="*/ 362647 w 2857253"/>
              <a:gd name="connsiteY12" fmla="*/ 6162257 h 6164592"/>
              <a:gd name="connsiteX13" fmla="*/ 103139 w 2857253"/>
              <a:gd name="connsiteY13" fmla="*/ 6078176 h 6164592"/>
              <a:gd name="connsiteX14" fmla="*/ 7285 w 2857253"/>
              <a:gd name="connsiteY14" fmla="*/ 5828268 h 6164592"/>
              <a:gd name="connsiteX15" fmla="*/ 7285 w 2857253"/>
              <a:gd name="connsiteY15" fmla="*/ 3915425 h 6164592"/>
              <a:gd name="connsiteX16" fmla="*/ 7285 w 2857253"/>
              <a:gd name="connsiteY16" fmla="*/ 3214749 h 6164592"/>
              <a:gd name="connsiteX17" fmla="*/ 4947 w 2857253"/>
              <a:gd name="connsiteY17" fmla="*/ 687648 h 6164592"/>
              <a:gd name="connsiteX18" fmla="*/ 2609 w 2857253"/>
              <a:gd name="connsiteY18" fmla="*/ 398035 h 6164592"/>
              <a:gd name="connsiteX19" fmla="*/ 47029 w 2857253"/>
              <a:gd name="connsiteY19" fmla="*/ 152799 h 6164592"/>
              <a:gd name="connsiteX20" fmla="*/ 234062 w 2857253"/>
              <a:gd name="connsiteY20" fmla="*/ 22006 h 6164592"/>
              <a:gd name="connsiteX21" fmla="*/ 545003 w 2857253"/>
              <a:gd name="connsiteY21" fmla="*/ 7993 h 6164592"/>
              <a:gd name="connsiteX22" fmla="*/ 615141 w 2857253"/>
              <a:gd name="connsiteY22" fmla="*/ 85067 h 6164592"/>
              <a:gd name="connsiteX23" fmla="*/ 790484 w 2857253"/>
              <a:gd name="connsiteY23" fmla="*/ 250893 h 6164592"/>
              <a:gd name="connsiteX24" fmla="*/ 2022561 w 2857253"/>
              <a:gd name="connsiteY24" fmla="*/ 250893 h 6164592"/>
              <a:gd name="connsiteX25" fmla="*/ 2195566 w 2857253"/>
              <a:gd name="connsiteY25" fmla="*/ 178490 h 6164592"/>
              <a:gd name="connsiteX26" fmla="*/ 2230634 w 2857253"/>
              <a:gd name="connsiteY26" fmla="*/ 92074 h 6164592"/>
              <a:gd name="connsiteX27" fmla="*/ 2345192 w 2857253"/>
              <a:gd name="connsiteY27" fmla="*/ 986 h 6164592"/>
              <a:gd name="connsiteX0" fmla="*/ 2345192 w 2860168"/>
              <a:gd name="connsiteY0" fmla="*/ 986 h 6164592"/>
              <a:gd name="connsiteX1" fmla="*/ 2508845 w 2860168"/>
              <a:gd name="connsiteY1" fmla="*/ 10328 h 6164592"/>
              <a:gd name="connsiteX2" fmla="*/ 2663147 w 2860168"/>
              <a:gd name="connsiteY2" fmla="*/ 36020 h 6164592"/>
              <a:gd name="connsiteX3" fmla="*/ 2829139 w 2860168"/>
              <a:gd name="connsiteY3" fmla="*/ 211188 h 6164592"/>
              <a:gd name="connsiteX4" fmla="*/ 2849875 w 2860168"/>
              <a:gd name="connsiteY4" fmla="*/ 554819 h 6164592"/>
              <a:gd name="connsiteX5" fmla="*/ 2851299 w 2860168"/>
              <a:gd name="connsiteY5" fmla="*/ 812870 h 6164592"/>
              <a:gd name="connsiteX6" fmla="*/ 2853943 w 2860168"/>
              <a:gd name="connsiteY6" fmla="*/ 1184828 h 6164592"/>
              <a:gd name="connsiteX7" fmla="*/ 2850180 w 2860168"/>
              <a:gd name="connsiteY7" fmla="*/ 1395330 h 6164592"/>
              <a:gd name="connsiteX8" fmla="*/ 2850180 w 2860168"/>
              <a:gd name="connsiteY8" fmla="*/ 5741852 h 6164592"/>
              <a:gd name="connsiteX9" fmla="*/ 2826801 w 2860168"/>
              <a:gd name="connsiteY9" fmla="*/ 5963732 h 6164592"/>
              <a:gd name="connsiteX10" fmla="*/ 2766015 w 2860168"/>
              <a:gd name="connsiteY10" fmla="*/ 6054820 h 6164592"/>
              <a:gd name="connsiteX11" fmla="*/ 2429356 w 2860168"/>
              <a:gd name="connsiteY11" fmla="*/ 6164592 h 6164592"/>
              <a:gd name="connsiteX12" fmla="*/ 362647 w 2860168"/>
              <a:gd name="connsiteY12" fmla="*/ 6162257 h 6164592"/>
              <a:gd name="connsiteX13" fmla="*/ 103139 w 2860168"/>
              <a:gd name="connsiteY13" fmla="*/ 6078176 h 6164592"/>
              <a:gd name="connsiteX14" fmla="*/ 7285 w 2860168"/>
              <a:gd name="connsiteY14" fmla="*/ 5828268 h 6164592"/>
              <a:gd name="connsiteX15" fmla="*/ 7285 w 2860168"/>
              <a:gd name="connsiteY15" fmla="*/ 3915425 h 6164592"/>
              <a:gd name="connsiteX16" fmla="*/ 7285 w 2860168"/>
              <a:gd name="connsiteY16" fmla="*/ 3214749 h 6164592"/>
              <a:gd name="connsiteX17" fmla="*/ 4947 w 2860168"/>
              <a:gd name="connsiteY17" fmla="*/ 687648 h 6164592"/>
              <a:gd name="connsiteX18" fmla="*/ 2609 w 2860168"/>
              <a:gd name="connsiteY18" fmla="*/ 398035 h 6164592"/>
              <a:gd name="connsiteX19" fmla="*/ 47029 w 2860168"/>
              <a:gd name="connsiteY19" fmla="*/ 152799 h 6164592"/>
              <a:gd name="connsiteX20" fmla="*/ 234062 w 2860168"/>
              <a:gd name="connsiteY20" fmla="*/ 22006 h 6164592"/>
              <a:gd name="connsiteX21" fmla="*/ 545003 w 2860168"/>
              <a:gd name="connsiteY21" fmla="*/ 7993 h 6164592"/>
              <a:gd name="connsiteX22" fmla="*/ 615141 w 2860168"/>
              <a:gd name="connsiteY22" fmla="*/ 85067 h 6164592"/>
              <a:gd name="connsiteX23" fmla="*/ 790484 w 2860168"/>
              <a:gd name="connsiteY23" fmla="*/ 250893 h 6164592"/>
              <a:gd name="connsiteX24" fmla="*/ 2022561 w 2860168"/>
              <a:gd name="connsiteY24" fmla="*/ 250893 h 6164592"/>
              <a:gd name="connsiteX25" fmla="*/ 2195566 w 2860168"/>
              <a:gd name="connsiteY25" fmla="*/ 178490 h 6164592"/>
              <a:gd name="connsiteX26" fmla="*/ 2230634 w 2860168"/>
              <a:gd name="connsiteY26" fmla="*/ 92074 h 6164592"/>
              <a:gd name="connsiteX27" fmla="*/ 2345192 w 2860168"/>
              <a:gd name="connsiteY27" fmla="*/ 986 h 6164592"/>
              <a:gd name="connsiteX0" fmla="*/ 2345192 w 2854520"/>
              <a:gd name="connsiteY0" fmla="*/ 986 h 6164592"/>
              <a:gd name="connsiteX1" fmla="*/ 2508845 w 2854520"/>
              <a:gd name="connsiteY1" fmla="*/ 10328 h 6164592"/>
              <a:gd name="connsiteX2" fmla="*/ 2663147 w 2854520"/>
              <a:gd name="connsiteY2" fmla="*/ 36020 h 6164592"/>
              <a:gd name="connsiteX3" fmla="*/ 2829139 w 2854520"/>
              <a:gd name="connsiteY3" fmla="*/ 211188 h 6164592"/>
              <a:gd name="connsiteX4" fmla="*/ 2849875 w 2854520"/>
              <a:gd name="connsiteY4" fmla="*/ 554819 h 6164592"/>
              <a:gd name="connsiteX5" fmla="*/ 2851299 w 2854520"/>
              <a:gd name="connsiteY5" fmla="*/ 812870 h 6164592"/>
              <a:gd name="connsiteX6" fmla="*/ 2853943 w 2854520"/>
              <a:gd name="connsiteY6" fmla="*/ 1184828 h 6164592"/>
              <a:gd name="connsiteX7" fmla="*/ 2850180 w 2854520"/>
              <a:gd name="connsiteY7" fmla="*/ 1395330 h 6164592"/>
              <a:gd name="connsiteX8" fmla="*/ 2850180 w 2854520"/>
              <a:gd name="connsiteY8" fmla="*/ 5741852 h 6164592"/>
              <a:gd name="connsiteX9" fmla="*/ 2826801 w 2854520"/>
              <a:gd name="connsiteY9" fmla="*/ 5963732 h 6164592"/>
              <a:gd name="connsiteX10" fmla="*/ 2766015 w 2854520"/>
              <a:gd name="connsiteY10" fmla="*/ 6054820 h 6164592"/>
              <a:gd name="connsiteX11" fmla="*/ 2429356 w 2854520"/>
              <a:gd name="connsiteY11" fmla="*/ 6164592 h 6164592"/>
              <a:gd name="connsiteX12" fmla="*/ 362647 w 2854520"/>
              <a:gd name="connsiteY12" fmla="*/ 6162257 h 6164592"/>
              <a:gd name="connsiteX13" fmla="*/ 103139 w 2854520"/>
              <a:gd name="connsiteY13" fmla="*/ 6078176 h 6164592"/>
              <a:gd name="connsiteX14" fmla="*/ 7285 w 2854520"/>
              <a:gd name="connsiteY14" fmla="*/ 5828268 h 6164592"/>
              <a:gd name="connsiteX15" fmla="*/ 7285 w 2854520"/>
              <a:gd name="connsiteY15" fmla="*/ 3915425 h 6164592"/>
              <a:gd name="connsiteX16" fmla="*/ 7285 w 2854520"/>
              <a:gd name="connsiteY16" fmla="*/ 3214749 h 6164592"/>
              <a:gd name="connsiteX17" fmla="*/ 4947 w 2854520"/>
              <a:gd name="connsiteY17" fmla="*/ 687648 h 6164592"/>
              <a:gd name="connsiteX18" fmla="*/ 2609 w 2854520"/>
              <a:gd name="connsiteY18" fmla="*/ 398035 h 6164592"/>
              <a:gd name="connsiteX19" fmla="*/ 47029 w 2854520"/>
              <a:gd name="connsiteY19" fmla="*/ 152799 h 6164592"/>
              <a:gd name="connsiteX20" fmla="*/ 234062 w 2854520"/>
              <a:gd name="connsiteY20" fmla="*/ 22006 h 6164592"/>
              <a:gd name="connsiteX21" fmla="*/ 545003 w 2854520"/>
              <a:gd name="connsiteY21" fmla="*/ 7993 h 6164592"/>
              <a:gd name="connsiteX22" fmla="*/ 615141 w 2854520"/>
              <a:gd name="connsiteY22" fmla="*/ 85067 h 6164592"/>
              <a:gd name="connsiteX23" fmla="*/ 790484 w 2854520"/>
              <a:gd name="connsiteY23" fmla="*/ 250893 h 6164592"/>
              <a:gd name="connsiteX24" fmla="*/ 2022561 w 2854520"/>
              <a:gd name="connsiteY24" fmla="*/ 250893 h 6164592"/>
              <a:gd name="connsiteX25" fmla="*/ 2195566 w 2854520"/>
              <a:gd name="connsiteY25" fmla="*/ 178490 h 6164592"/>
              <a:gd name="connsiteX26" fmla="*/ 2230634 w 2854520"/>
              <a:gd name="connsiteY26" fmla="*/ 92074 h 6164592"/>
              <a:gd name="connsiteX27" fmla="*/ 2345192 w 2854520"/>
              <a:gd name="connsiteY27" fmla="*/ 986 h 6164592"/>
              <a:gd name="connsiteX0" fmla="*/ 2345192 w 2854520"/>
              <a:gd name="connsiteY0" fmla="*/ 986 h 6164592"/>
              <a:gd name="connsiteX1" fmla="*/ 2508845 w 2854520"/>
              <a:gd name="connsiteY1" fmla="*/ 10328 h 6164592"/>
              <a:gd name="connsiteX2" fmla="*/ 2663147 w 2854520"/>
              <a:gd name="connsiteY2" fmla="*/ 36020 h 6164592"/>
              <a:gd name="connsiteX3" fmla="*/ 2829139 w 2854520"/>
              <a:gd name="connsiteY3" fmla="*/ 211188 h 6164592"/>
              <a:gd name="connsiteX4" fmla="*/ 2849875 w 2854520"/>
              <a:gd name="connsiteY4" fmla="*/ 554819 h 6164592"/>
              <a:gd name="connsiteX5" fmla="*/ 2851299 w 2854520"/>
              <a:gd name="connsiteY5" fmla="*/ 812870 h 6164592"/>
              <a:gd name="connsiteX6" fmla="*/ 2853943 w 2854520"/>
              <a:gd name="connsiteY6" fmla="*/ 1184828 h 6164592"/>
              <a:gd name="connsiteX7" fmla="*/ 2850180 w 2854520"/>
              <a:gd name="connsiteY7" fmla="*/ 1395330 h 6164592"/>
              <a:gd name="connsiteX8" fmla="*/ 2850180 w 2854520"/>
              <a:gd name="connsiteY8" fmla="*/ 5741852 h 6164592"/>
              <a:gd name="connsiteX9" fmla="*/ 2826801 w 2854520"/>
              <a:gd name="connsiteY9" fmla="*/ 5963732 h 6164592"/>
              <a:gd name="connsiteX10" fmla="*/ 2766015 w 2854520"/>
              <a:gd name="connsiteY10" fmla="*/ 6054820 h 6164592"/>
              <a:gd name="connsiteX11" fmla="*/ 2429356 w 2854520"/>
              <a:gd name="connsiteY11" fmla="*/ 6164592 h 6164592"/>
              <a:gd name="connsiteX12" fmla="*/ 362647 w 2854520"/>
              <a:gd name="connsiteY12" fmla="*/ 6162257 h 6164592"/>
              <a:gd name="connsiteX13" fmla="*/ 103139 w 2854520"/>
              <a:gd name="connsiteY13" fmla="*/ 6078176 h 6164592"/>
              <a:gd name="connsiteX14" fmla="*/ 7285 w 2854520"/>
              <a:gd name="connsiteY14" fmla="*/ 5828268 h 6164592"/>
              <a:gd name="connsiteX15" fmla="*/ 7285 w 2854520"/>
              <a:gd name="connsiteY15" fmla="*/ 3915425 h 6164592"/>
              <a:gd name="connsiteX16" fmla="*/ 7285 w 2854520"/>
              <a:gd name="connsiteY16" fmla="*/ 3214749 h 6164592"/>
              <a:gd name="connsiteX17" fmla="*/ 4947 w 2854520"/>
              <a:gd name="connsiteY17" fmla="*/ 687648 h 6164592"/>
              <a:gd name="connsiteX18" fmla="*/ 2609 w 2854520"/>
              <a:gd name="connsiteY18" fmla="*/ 398035 h 6164592"/>
              <a:gd name="connsiteX19" fmla="*/ 47029 w 2854520"/>
              <a:gd name="connsiteY19" fmla="*/ 152799 h 6164592"/>
              <a:gd name="connsiteX20" fmla="*/ 234062 w 2854520"/>
              <a:gd name="connsiteY20" fmla="*/ 22006 h 6164592"/>
              <a:gd name="connsiteX21" fmla="*/ 545003 w 2854520"/>
              <a:gd name="connsiteY21" fmla="*/ 7993 h 6164592"/>
              <a:gd name="connsiteX22" fmla="*/ 615141 w 2854520"/>
              <a:gd name="connsiteY22" fmla="*/ 85067 h 6164592"/>
              <a:gd name="connsiteX23" fmla="*/ 790484 w 2854520"/>
              <a:gd name="connsiteY23" fmla="*/ 250893 h 6164592"/>
              <a:gd name="connsiteX24" fmla="*/ 2022561 w 2854520"/>
              <a:gd name="connsiteY24" fmla="*/ 250893 h 6164592"/>
              <a:gd name="connsiteX25" fmla="*/ 2195566 w 2854520"/>
              <a:gd name="connsiteY25" fmla="*/ 178490 h 6164592"/>
              <a:gd name="connsiteX26" fmla="*/ 2230634 w 2854520"/>
              <a:gd name="connsiteY26" fmla="*/ 92074 h 6164592"/>
              <a:gd name="connsiteX27" fmla="*/ 2345192 w 2854520"/>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52799 h 6164592"/>
              <a:gd name="connsiteX20" fmla="*/ 234062 w 2860975"/>
              <a:gd name="connsiteY20" fmla="*/ 22006 h 6164592"/>
              <a:gd name="connsiteX21" fmla="*/ 545003 w 2860975"/>
              <a:gd name="connsiteY21" fmla="*/ 7993 h 6164592"/>
              <a:gd name="connsiteX22" fmla="*/ 615141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52799 h 6164592"/>
              <a:gd name="connsiteX20" fmla="*/ 234062 w 2860975"/>
              <a:gd name="connsiteY20" fmla="*/ 22006 h 6164592"/>
              <a:gd name="connsiteX21" fmla="*/ 545003 w 2860975"/>
              <a:gd name="connsiteY21" fmla="*/ 7993 h 6164592"/>
              <a:gd name="connsiteX22" fmla="*/ 615141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52799 h 6164592"/>
              <a:gd name="connsiteX20" fmla="*/ 234062 w 2860975"/>
              <a:gd name="connsiteY20" fmla="*/ 22006 h 6164592"/>
              <a:gd name="connsiteX21" fmla="*/ 545003 w 2860975"/>
              <a:gd name="connsiteY21" fmla="*/ 7993 h 6164592"/>
              <a:gd name="connsiteX22" fmla="*/ 641370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52799 h 6164592"/>
              <a:gd name="connsiteX20" fmla="*/ 234062 w 2860975"/>
              <a:gd name="connsiteY20" fmla="*/ 39492 h 6164592"/>
              <a:gd name="connsiteX21" fmla="*/ 545003 w 2860975"/>
              <a:gd name="connsiteY21" fmla="*/ 7993 h 6164592"/>
              <a:gd name="connsiteX22" fmla="*/ 641370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79028 h 6164592"/>
              <a:gd name="connsiteX20" fmla="*/ 234062 w 2860975"/>
              <a:gd name="connsiteY20" fmla="*/ 39492 h 6164592"/>
              <a:gd name="connsiteX21" fmla="*/ 545003 w 2860975"/>
              <a:gd name="connsiteY21" fmla="*/ 7993 h 6164592"/>
              <a:gd name="connsiteX22" fmla="*/ 641370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79028 h 6164592"/>
              <a:gd name="connsiteX20" fmla="*/ 234062 w 2860975"/>
              <a:gd name="connsiteY20" fmla="*/ 39492 h 6164592"/>
              <a:gd name="connsiteX21" fmla="*/ 545003 w 2860975"/>
              <a:gd name="connsiteY21" fmla="*/ 21107 h 6164592"/>
              <a:gd name="connsiteX22" fmla="*/ 641370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790484 w 2860975"/>
              <a:gd name="connsiteY23" fmla="*/ 242419 h 6156118"/>
              <a:gd name="connsiteX24" fmla="*/ 2022561 w 2860975"/>
              <a:gd name="connsiteY24" fmla="*/ 242419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790484 w 2860975"/>
              <a:gd name="connsiteY23" fmla="*/ 242419 h 6156118"/>
              <a:gd name="connsiteX24" fmla="*/ 2022561 w 2860975"/>
              <a:gd name="connsiteY24" fmla="*/ 242419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790484 w 2860975"/>
              <a:gd name="connsiteY23" fmla="*/ 242419 h 6156118"/>
              <a:gd name="connsiteX24" fmla="*/ 2022561 w 2860975"/>
              <a:gd name="connsiteY24" fmla="*/ 242419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790484 w 2860975"/>
              <a:gd name="connsiteY23" fmla="*/ 242419 h 6156118"/>
              <a:gd name="connsiteX24" fmla="*/ 2022561 w 2860975"/>
              <a:gd name="connsiteY24" fmla="*/ 242419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2561 w 2860975"/>
              <a:gd name="connsiteY24" fmla="*/ 242419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60776 w 2860975"/>
              <a:gd name="connsiteY25" fmla="*/ 163057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60776 w 2860975"/>
              <a:gd name="connsiteY25" fmla="*/ 163057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60776 w 2860975"/>
              <a:gd name="connsiteY25" fmla="*/ 163057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60776 w 2860975"/>
              <a:gd name="connsiteY25" fmla="*/ 163057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60776 w 2860975"/>
              <a:gd name="connsiteY25" fmla="*/ 163057 h 6156118"/>
              <a:gd name="connsiteX26" fmla="*/ 2205413 w 2860975"/>
              <a:gd name="connsiteY26" fmla="*/ 89905 h 6156118"/>
              <a:gd name="connsiteX27" fmla="*/ 2340821 w 2860975"/>
              <a:gd name="connsiteY27" fmla="*/ 5626 h 6156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860975" h="6156118">
                <a:moveTo>
                  <a:pt x="2340821" y="5626"/>
                </a:moveTo>
                <a:cubicBezTo>
                  <a:pt x="2394593" y="10297"/>
                  <a:pt x="2455073" y="-5153"/>
                  <a:pt x="2508845" y="1854"/>
                </a:cubicBezTo>
                <a:cubicBezTo>
                  <a:pt x="2560279" y="6525"/>
                  <a:pt x="2614051" y="11197"/>
                  <a:pt x="2663147" y="27546"/>
                </a:cubicBezTo>
                <a:cubicBezTo>
                  <a:pt x="2749650" y="55573"/>
                  <a:pt x="2805759" y="116298"/>
                  <a:pt x="2829139" y="202714"/>
                </a:cubicBezTo>
                <a:cubicBezTo>
                  <a:pt x="2861869" y="317158"/>
                  <a:pt x="2864207" y="422859"/>
                  <a:pt x="2858618" y="541973"/>
                </a:cubicBezTo>
                <a:cubicBezTo>
                  <a:pt x="2851299" y="627790"/>
                  <a:pt x="2852078" y="698666"/>
                  <a:pt x="2851299" y="804396"/>
                </a:cubicBezTo>
                <a:cubicBezTo>
                  <a:pt x="2850520" y="910126"/>
                  <a:pt x="2851605" y="1050232"/>
                  <a:pt x="2853943" y="1176354"/>
                </a:cubicBezTo>
                <a:cubicBezTo>
                  <a:pt x="2856281" y="1248757"/>
                  <a:pt x="2850807" y="627352"/>
                  <a:pt x="2850180" y="1386856"/>
                </a:cubicBezTo>
                <a:cubicBezTo>
                  <a:pt x="2849553" y="2146360"/>
                  <a:pt x="2850180" y="4284537"/>
                  <a:pt x="2850180" y="5733378"/>
                </a:cubicBezTo>
                <a:cubicBezTo>
                  <a:pt x="2850180" y="5808116"/>
                  <a:pt x="2840828" y="5882855"/>
                  <a:pt x="2826801" y="5955258"/>
                </a:cubicBezTo>
                <a:cubicBezTo>
                  <a:pt x="2819787" y="5987956"/>
                  <a:pt x="2791732" y="6020654"/>
                  <a:pt x="2766015" y="6046346"/>
                </a:cubicBezTo>
                <a:cubicBezTo>
                  <a:pt x="2674837" y="6142105"/>
                  <a:pt x="2555603" y="6156118"/>
                  <a:pt x="2429356" y="6156118"/>
                </a:cubicBezTo>
                <a:lnTo>
                  <a:pt x="362647" y="6153783"/>
                </a:lnTo>
                <a:cubicBezTo>
                  <a:pt x="269130" y="6153783"/>
                  <a:pt x="177952" y="6139769"/>
                  <a:pt x="103139" y="6069702"/>
                </a:cubicBezTo>
                <a:cubicBezTo>
                  <a:pt x="33002" y="6001970"/>
                  <a:pt x="7285" y="5913218"/>
                  <a:pt x="7285" y="5819794"/>
                </a:cubicBezTo>
                <a:cubicBezTo>
                  <a:pt x="4947" y="5182180"/>
                  <a:pt x="7285" y="4544565"/>
                  <a:pt x="7285" y="3906951"/>
                </a:cubicBezTo>
                <a:lnTo>
                  <a:pt x="7285" y="3206275"/>
                </a:lnTo>
                <a:cubicBezTo>
                  <a:pt x="7285" y="2363130"/>
                  <a:pt x="7285" y="1522319"/>
                  <a:pt x="4947" y="679174"/>
                </a:cubicBezTo>
                <a:cubicBezTo>
                  <a:pt x="4947" y="583415"/>
                  <a:pt x="-4405" y="485320"/>
                  <a:pt x="2609" y="389561"/>
                </a:cubicBezTo>
                <a:cubicBezTo>
                  <a:pt x="7285" y="307816"/>
                  <a:pt x="23650" y="249964"/>
                  <a:pt x="47029" y="170554"/>
                </a:cubicBezTo>
                <a:cubicBezTo>
                  <a:pt x="75084" y="84137"/>
                  <a:pt x="151066" y="57338"/>
                  <a:pt x="234062" y="31018"/>
                </a:cubicBezTo>
                <a:cubicBezTo>
                  <a:pt x="317058" y="4698"/>
                  <a:pt x="477118" y="5037"/>
                  <a:pt x="545003" y="12633"/>
                </a:cubicBezTo>
                <a:cubicBezTo>
                  <a:pt x="612888" y="20229"/>
                  <a:pt x="636694" y="29881"/>
                  <a:pt x="641370" y="76593"/>
                </a:cubicBezTo>
                <a:cubicBezTo>
                  <a:pt x="687972" y="205752"/>
                  <a:pt x="791992" y="193111"/>
                  <a:pt x="853104" y="193715"/>
                </a:cubicBezTo>
                <a:lnTo>
                  <a:pt x="2029518" y="193715"/>
                </a:lnTo>
                <a:cubicBezTo>
                  <a:pt x="2064606" y="188605"/>
                  <a:pt x="2108420" y="181980"/>
                  <a:pt x="2160776" y="163057"/>
                </a:cubicBezTo>
                <a:cubicBezTo>
                  <a:pt x="2179479" y="137366"/>
                  <a:pt x="2200737" y="120267"/>
                  <a:pt x="2205413" y="89905"/>
                </a:cubicBezTo>
                <a:cubicBezTo>
                  <a:pt x="2217103" y="22173"/>
                  <a:pt x="2251164" y="11733"/>
                  <a:pt x="2340821" y="5626"/>
                </a:cubicBezTo>
                <a:close/>
              </a:path>
            </a:pathLst>
          </a:custGeom>
          <a:blipFill>
            <a:blip r:embed="rId5"/>
            <a:stretch>
              <a:fillRect l="-121001" r="-138446" b="-5101"/>
            </a:stretch>
          </a:blipFill>
        </p:spPr>
        <p:txBody>
          <a:bodyPr wrap="square" anchor="ctr" anchorCtr="1">
            <a:noAutofit/>
          </a:bodyPr>
          <a:lstStyle>
            <a:lvl1pPr marL="0" indent="0">
              <a:buNone/>
              <a:defRPr/>
            </a:lvl1pPr>
          </a:lstStyle>
          <a:p>
            <a:endParaRPr lang="en-US"/>
          </a:p>
        </p:txBody>
      </p:sp>
      <p:sp>
        <p:nvSpPr>
          <p:cNvPr id="73" name="Picture Placeholder 3">
            <a:extLst>
              <a:ext uri="{FF2B5EF4-FFF2-40B4-BE49-F238E27FC236}">
                <a16:creationId xmlns:a16="http://schemas.microsoft.com/office/drawing/2014/main" id="{11B48AF8-495A-A947-8F48-8A8303E9DC50}"/>
              </a:ext>
            </a:extLst>
          </p:cNvPr>
          <p:cNvSpPr>
            <a:spLocks noGrp="1" noChangeAspect="1"/>
          </p:cNvSpPr>
          <p:nvPr>
            <p:ph type="pic" sz="quarter" idx="19"/>
          </p:nvPr>
        </p:nvSpPr>
        <p:spPr>
          <a:xfrm>
            <a:off x="6398467" y="5490481"/>
            <a:ext cx="1440599" cy="3099816"/>
          </a:xfrm>
          <a:custGeom>
            <a:avLst/>
            <a:gdLst>
              <a:gd name="connsiteX0" fmla="*/ 2345192 w 2857253"/>
              <a:gd name="connsiteY0" fmla="*/ 986 h 6164592"/>
              <a:gd name="connsiteX1" fmla="*/ 2508845 w 2857253"/>
              <a:gd name="connsiteY1" fmla="*/ 10328 h 6164592"/>
              <a:gd name="connsiteX2" fmla="*/ 2663147 w 2857253"/>
              <a:gd name="connsiteY2" fmla="*/ 36020 h 6164592"/>
              <a:gd name="connsiteX3" fmla="*/ 2829139 w 2857253"/>
              <a:gd name="connsiteY3" fmla="*/ 211188 h 6164592"/>
              <a:gd name="connsiteX4" fmla="*/ 2845504 w 2857253"/>
              <a:gd name="connsiteY4" fmla="*/ 559190 h 6164592"/>
              <a:gd name="connsiteX5" fmla="*/ 2833814 w 2857253"/>
              <a:gd name="connsiteY5" fmla="*/ 799756 h 6164592"/>
              <a:gd name="connsiteX6" fmla="*/ 2840828 w 2857253"/>
              <a:gd name="connsiteY6" fmla="*/ 1180456 h 6164592"/>
              <a:gd name="connsiteX7" fmla="*/ 2850180 w 2857253"/>
              <a:gd name="connsiteY7" fmla="*/ 1395330 h 6164592"/>
              <a:gd name="connsiteX8" fmla="*/ 2850180 w 2857253"/>
              <a:gd name="connsiteY8" fmla="*/ 5741852 h 6164592"/>
              <a:gd name="connsiteX9" fmla="*/ 2826801 w 2857253"/>
              <a:gd name="connsiteY9" fmla="*/ 5963732 h 6164592"/>
              <a:gd name="connsiteX10" fmla="*/ 2766015 w 2857253"/>
              <a:gd name="connsiteY10" fmla="*/ 6054820 h 6164592"/>
              <a:gd name="connsiteX11" fmla="*/ 2429356 w 2857253"/>
              <a:gd name="connsiteY11" fmla="*/ 6164592 h 6164592"/>
              <a:gd name="connsiteX12" fmla="*/ 362647 w 2857253"/>
              <a:gd name="connsiteY12" fmla="*/ 6162257 h 6164592"/>
              <a:gd name="connsiteX13" fmla="*/ 103139 w 2857253"/>
              <a:gd name="connsiteY13" fmla="*/ 6078176 h 6164592"/>
              <a:gd name="connsiteX14" fmla="*/ 7285 w 2857253"/>
              <a:gd name="connsiteY14" fmla="*/ 5828268 h 6164592"/>
              <a:gd name="connsiteX15" fmla="*/ 7285 w 2857253"/>
              <a:gd name="connsiteY15" fmla="*/ 3915425 h 6164592"/>
              <a:gd name="connsiteX16" fmla="*/ 7285 w 2857253"/>
              <a:gd name="connsiteY16" fmla="*/ 3214749 h 6164592"/>
              <a:gd name="connsiteX17" fmla="*/ 4947 w 2857253"/>
              <a:gd name="connsiteY17" fmla="*/ 687648 h 6164592"/>
              <a:gd name="connsiteX18" fmla="*/ 2609 w 2857253"/>
              <a:gd name="connsiteY18" fmla="*/ 398035 h 6164592"/>
              <a:gd name="connsiteX19" fmla="*/ 47029 w 2857253"/>
              <a:gd name="connsiteY19" fmla="*/ 152799 h 6164592"/>
              <a:gd name="connsiteX20" fmla="*/ 234062 w 2857253"/>
              <a:gd name="connsiteY20" fmla="*/ 22006 h 6164592"/>
              <a:gd name="connsiteX21" fmla="*/ 545003 w 2857253"/>
              <a:gd name="connsiteY21" fmla="*/ 7993 h 6164592"/>
              <a:gd name="connsiteX22" fmla="*/ 615141 w 2857253"/>
              <a:gd name="connsiteY22" fmla="*/ 85067 h 6164592"/>
              <a:gd name="connsiteX23" fmla="*/ 790484 w 2857253"/>
              <a:gd name="connsiteY23" fmla="*/ 250893 h 6164592"/>
              <a:gd name="connsiteX24" fmla="*/ 2022561 w 2857253"/>
              <a:gd name="connsiteY24" fmla="*/ 250893 h 6164592"/>
              <a:gd name="connsiteX25" fmla="*/ 2195566 w 2857253"/>
              <a:gd name="connsiteY25" fmla="*/ 178490 h 6164592"/>
              <a:gd name="connsiteX26" fmla="*/ 2230634 w 2857253"/>
              <a:gd name="connsiteY26" fmla="*/ 92074 h 6164592"/>
              <a:gd name="connsiteX27" fmla="*/ 2345192 w 2857253"/>
              <a:gd name="connsiteY27" fmla="*/ 986 h 6164592"/>
              <a:gd name="connsiteX0" fmla="*/ 2345192 w 2857253"/>
              <a:gd name="connsiteY0" fmla="*/ 986 h 6164592"/>
              <a:gd name="connsiteX1" fmla="*/ 2508845 w 2857253"/>
              <a:gd name="connsiteY1" fmla="*/ 10328 h 6164592"/>
              <a:gd name="connsiteX2" fmla="*/ 2663147 w 2857253"/>
              <a:gd name="connsiteY2" fmla="*/ 36020 h 6164592"/>
              <a:gd name="connsiteX3" fmla="*/ 2829139 w 2857253"/>
              <a:gd name="connsiteY3" fmla="*/ 211188 h 6164592"/>
              <a:gd name="connsiteX4" fmla="*/ 2845504 w 2857253"/>
              <a:gd name="connsiteY4" fmla="*/ 554819 h 6164592"/>
              <a:gd name="connsiteX5" fmla="*/ 2833814 w 2857253"/>
              <a:gd name="connsiteY5" fmla="*/ 799756 h 6164592"/>
              <a:gd name="connsiteX6" fmla="*/ 2840828 w 2857253"/>
              <a:gd name="connsiteY6" fmla="*/ 1180456 h 6164592"/>
              <a:gd name="connsiteX7" fmla="*/ 2850180 w 2857253"/>
              <a:gd name="connsiteY7" fmla="*/ 1395330 h 6164592"/>
              <a:gd name="connsiteX8" fmla="*/ 2850180 w 2857253"/>
              <a:gd name="connsiteY8" fmla="*/ 5741852 h 6164592"/>
              <a:gd name="connsiteX9" fmla="*/ 2826801 w 2857253"/>
              <a:gd name="connsiteY9" fmla="*/ 5963732 h 6164592"/>
              <a:gd name="connsiteX10" fmla="*/ 2766015 w 2857253"/>
              <a:gd name="connsiteY10" fmla="*/ 6054820 h 6164592"/>
              <a:gd name="connsiteX11" fmla="*/ 2429356 w 2857253"/>
              <a:gd name="connsiteY11" fmla="*/ 6164592 h 6164592"/>
              <a:gd name="connsiteX12" fmla="*/ 362647 w 2857253"/>
              <a:gd name="connsiteY12" fmla="*/ 6162257 h 6164592"/>
              <a:gd name="connsiteX13" fmla="*/ 103139 w 2857253"/>
              <a:gd name="connsiteY13" fmla="*/ 6078176 h 6164592"/>
              <a:gd name="connsiteX14" fmla="*/ 7285 w 2857253"/>
              <a:gd name="connsiteY14" fmla="*/ 5828268 h 6164592"/>
              <a:gd name="connsiteX15" fmla="*/ 7285 w 2857253"/>
              <a:gd name="connsiteY15" fmla="*/ 3915425 h 6164592"/>
              <a:gd name="connsiteX16" fmla="*/ 7285 w 2857253"/>
              <a:gd name="connsiteY16" fmla="*/ 3214749 h 6164592"/>
              <a:gd name="connsiteX17" fmla="*/ 4947 w 2857253"/>
              <a:gd name="connsiteY17" fmla="*/ 687648 h 6164592"/>
              <a:gd name="connsiteX18" fmla="*/ 2609 w 2857253"/>
              <a:gd name="connsiteY18" fmla="*/ 398035 h 6164592"/>
              <a:gd name="connsiteX19" fmla="*/ 47029 w 2857253"/>
              <a:gd name="connsiteY19" fmla="*/ 152799 h 6164592"/>
              <a:gd name="connsiteX20" fmla="*/ 234062 w 2857253"/>
              <a:gd name="connsiteY20" fmla="*/ 22006 h 6164592"/>
              <a:gd name="connsiteX21" fmla="*/ 545003 w 2857253"/>
              <a:gd name="connsiteY21" fmla="*/ 7993 h 6164592"/>
              <a:gd name="connsiteX22" fmla="*/ 615141 w 2857253"/>
              <a:gd name="connsiteY22" fmla="*/ 85067 h 6164592"/>
              <a:gd name="connsiteX23" fmla="*/ 790484 w 2857253"/>
              <a:gd name="connsiteY23" fmla="*/ 250893 h 6164592"/>
              <a:gd name="connsiteX24" fmla="*/ 2022561 w 2857253"/>
              <a:gd name="connsiteY24" fmla="*/ 250893 h 6164592"/>
              <a:gd name="connsiteX25" fmla="*/ 2195566 w 2857253"/>
              <a:gd name="connsiteY25" fmla="*/ 178490 h 6164592"/>
              <a:gd name="connsiteX26" fmla="*/ 2230634 w 2857253"/>
              <a:gd name="connsiteY26" fmla="*/ 92074 h 6164592"/>
              <a:gd name="connsiteX27" fmla="*/ 2345192 w 2857253"/>
              <a:gd name="connsiteY27" fmla="*/ 986 h 6164592"/>
              <a:gd name="connsiteX0" fmla="*/ 2345192 w 2857253"/>
              <a:gd name="connsiteY0" fmla="*/ 986 h 6164592"/>
              <a:gd name="connsiteX1" fmla="*/ 2508845 w 2857253"/>
              <a:gd name="connsiteY1" fmla="*/ 10328 h 6164592"/>
              <a:gd name="connsiteX2" fmla="*/ 2663147 w 2857253"/>
              <a:gd name="connsiteY2" fmla="*/ 36020 h 6164592"/>
              <a:gd name="connsiteX3" fmla="*/ 2829139 w 2857253"/>
              <a:gd name="connsiteY3" fmla="*/ 211188 h 6164592"/>
              <a:gd name="connsiteX4" fmla="*/ 2845504 w 2857253"/>
              <a:gd name="connsiteY4" fmla="*/ 554819 h 6164592"/>
              <a:gd name="connsiteX5" fmla="*/ 2851299 w 2857253"/>
              <a:gd name="connsiteY5" fmla="*/ 812870 h 6164592"/>
              <a:gd name="connsiteX6" fmla="*/ 2840828 w 2857253"/>
              <a:gd name="connsiteY6" fmla="*/ 1180456 h 6164592"/>
              <a:gd name="connsiteX7" fmla="*/ 2850180 w 2857253"/>
              <a:gd name="connsiteY7" fmla="*/ 1395330 h 6164592"/>
              <a:gd name="connsiteX8" fmla="*/ 2850180 w 2857253"/>
              <a:gd name="connsiteY8" fmla="*/ 5741852 h 6164592"/>
              <a:gd name="connsiteX9" fmla="*/ 2826801 w 2857253"/>
              <a:gd name="connsiteY9" fmla="*/ 5963732 h 6164592"/>
              <a:gd name="connsiteX10" fmla="*/ 2766015 w 2857253"/>
              <a:gd name="connsiteY10" fmla="*/ 6054820 h 6164592"/>
              <a:gd name="connsiteX11" fmla="*/ 2429356 w 2857253"/>
              <a:gd name="connsiteY11" fmla="*/ 6164592 h 6164592"/>
              <a:gd name="connsiteX12" fmla="*/ 362647 w 2857253"/>
              <a:gd name="connsiteY12" fmla="*/ 6162257 h 6164592"/>
              <a:gd name="connsiteX13" fmla="*/ 103139 w 2857253"/>
              <a:gd name="connsiteY13" fmla="*/ 6078176 h 6164592"/>
              <a:gd name="connsiteX14" fmla="*/ 7285 w 2857253"/>
              <a:gd name="connsiteY14" fmla="*/ 5828268 h 6164592"/>
              <a:gd name="connsiteX15" fmla="*/ 7285 w 2857253"/>
              <a:gd name="connsiteY15" fmla="*/ 3915425 h 6164592"/>
              <a:gd name="connsiteX16" fmla="*/ 7285 w 2857253"/>
              <a:gd name="connsiteY16" fmla="*/ 3214749 h 6164592"/>
              <a:gd name="connsiteX17" fmla="*/ 4947 w 2857253"/>
              <a:gd name="connsiteY17" fmla="*/ 687648 h 6164592"/>
              <a:gd name="connsiteX18" fmla="*/ 2609 w 2857253"/>
              <a:gd name="connsiteY18" fmla="*/ 398035 h 6164592"/>
              <a:gd name="connsiteX19" fmla="*/ 47029 w 2857253"/>
              <a:gd name="connsiteY19" fmla="*/ 152799 h 6164592"/>
              <a:gd name="connsiteX20" fmla="*/ 234062 w 2857253"/>
              <a:gd name="connsiteY20" fmla="*/ 22006 h 6164592"/>
              <a:gd name="connsiteX21" fmla="*/ 545003 w 2857253"/>
              <a:gd name="connsiteY21" fmla="*/ 7993 h 6164592"/>
              <a:gd name="connsiteX22" fmla="*/ 615141 w 2857253"/>
              <a:gd name="connsiteY22" fmla="*/ 85067 h 6164592"/>
              <a:gd name="connsiteX23" fmla="*/ 790484 w 2857253"/>
              <a:gd name="connsiteY23" fmla="*/ 250893 h 6164592"/>
              <a:gd name="connsiteX24" fmla="*/ 2022561 w 2857253"/>
              <a:gd name="connsiteY24" fmla="*/ 250893 h 6164592"/>
              <a:gd name="connsiteX25" fmla="*/ 2195566 w 2857253"/>
              <a:gd name="connsiteY25" fmla="*/ 178490 h 6164592"/>
              <a:gd name="connsiteX26" fmla="*/ 2230634 w 2857253"/>
              <a:gd name="connsiteY26" fmla="*/ 92074 h 6164592"/>
              <a:gd name="connsiteX27" fmla="*/ 2345192 w 2857253"/>
              <a:gd name="connsiteY27" fmla="*/ 986 h 6164592"/>
              <a:gd name="connsiteX0" fmla="*/ 2345192 w 2857253"/>
              <a:gd name="connsiteY0" fmla="*/ 986 h 6164592"/>
              <a:gd name="connsiteX1" fmla="*/ 2508845 w 2857253"/>
              <a:gd name="connsiteY1" fmla="*/ 10328 h 6164592"/>
              <a:gd name="connsiteX2" fmla="*/ 2663147 w 2857253"/>
              <a:gd name="connsiteY2" fmla="*/ 36020 h 6164592"/>
              <a:gd name="connsiteX3" fmla="*/ 2829139 w 2857253"/>
              <a:gd name="connsiteY3" fmla="*/ 211188 h 6164592"/>
              <a:gd name="connsiteX4" fmla="*/ 2845504 w 2857253"/>
              <a:gd name="connsiteY4" fmla="*/ 554819 h 6164592"/>
              <a:gd name="connsiteX5" fmla="*/ 2851299 w 2857253"/>
              <a:gd name="connsiteY5" fmla="*/ 812870 h 6164592"/>
              <a:gd name="connsiteX6" fmla="*/ 2853943 w 2857253"/>
              <a:gd name="connsiteY6" fmla="*/ 1184828 h 6164592"/>
              <a:gd name="connsiteX7" fmla="*/ 2850180 w 2857253"/>
              <a:gd name="connsiteY7" fmla="*/ 1395330 h 6164592"/>
              <a:gd name="connsiteX8" fmla="*/ 2850180 w 2857253"/>
              <a:gd name="connsiteY8" fmla="*/ 5741852 h 6164592"/>
              <a:gd name="connsiteX9" fmla="*/ 2826801 w 2857253"/>
              <a:gd name="connsiteY9" fmla="*/ 5963732 h 6164592"/>
              <a:gd name="connsiteX10" fmla="*/ 2766015 w 2857253"/>
              <a:gd name="connsiteY10" fmla="*/ 6054820 h 6164592"/>
              <a:gd name="connsiteX11" fmla="*/ 2429356 w 2857253"/>
              <a:gd name="connsiteY11" fmla="*/ 6164592 h 6164592"/>
              <a:gd name="connsiteX12" fmla="*/ 362647 w 2857253"/>
              <a:gd name="connsiteY12" fmla="*/ 6162257 h 6164592"/>
              <a:gd name="connsiteX13" fmla="*/ 103139 w 2857253"/>
              <a:gd name="connsiteY13" fmla="*/ 6078176 h 6164592"/>
              <a:gd name="connsiteX14" fmla="*/ 7285 w 2857253"/>
              <a:gd name="connsiteY14" fmla="*/ 5828268 h 6164592"/>
              <a:gd name="connsiteX15" fmla="*/ 7285 w 2857253"/>
              <a:gd name="connsiteY15" fmla="*/ 3915425 h 6164592"/>
              <a:gd name="connsiteX16" fmla="*/ 7285 w 2857253"/>
              <a:gd name="connsiteY16" fmla="*/ 3214749 h 6164592"/>
              <a:gd name="connsiteX17" fmla="*/ 4947 w 2857253"/>
              <a:gd name="connsiteY17" fmla="*/ 687648 h 6164592"/>
              <a:gd name="connsiteX18" fmla="*/ 2609 w 2857253"/>
              <a:gd name="connsiteY18" fmla="*/ 398035 h 6164592"/>
              <a:gd name="connsiteX19" fmla="*/ 47029 w 2857253"/>
              <a:gd name="connsiteY19" fmla="*/ 152799 h 6164592"/>
              <a:gd name="connsiteX20" fmla="*/ 234062 w 2857253"/>
              <a:gd name="connsiteY20" fmla="*/ 22006 h 6164592"/>
              <a:gd name="connsiteX21" fmla="*/ 545003 w 2857253"/>
              <a:gd name="connsiteY21" fmla="*/ 7993 h 6164592"/>
              <a:gd name="connsiteX22" fmla="*/ 615141 w 2857253"/>
              <a:gd name="connsiteY22" fmla="*/ 85067 h 6164592"/>
              <a:gd name="connsiteX23" fmla="*/ 790484 w 2857253"/>
              <a:gd name="connsiteY23" fmla="*/ 250893 h 6164592"/>
              <a:gd name="connsiteX24" fmla="*/ 2022561 w 2857253"/>
              <a:gd name="connsiteY24" fmla="*/ 250893 h 6164592"/>
              <a:gd name="connsiteX25" fmla="*/ 2195566 w 2857253"/>
              <a:gd name="connsiteY25" fmla="*/ 178490 h 6164592"/>
              <a:gd name="connsiteX26" fmla="*/ 2230634 w 2857253"/>
              <a:gd name="connsiteY26" fmla="*/ 92074 h 6164592"/>
              <a:gd name="connsiteX27" fmla="*/ 2345192 w 2857253"/>
              <a:gd name="connsiteY27" fmla="*/ 986 h 6164592"/>
              <a:gd name="connsiteX0" fmla="*/ 2345192 w 2860168"/>
              <a:gd name="connsiteY0" fmla="*/ 986 h 6164592"/>
              <a:gd name="connsiteX1" fmla="*/ 2508845 w 2860168"/>
              <a:gd name="connsiteY1" fmla="*/ 10328 h 6164592"/>
              <a:gd name="connsiteX2" fmla="*/ 2663147 w 2860168"/>
              <a:gd name="connsiteY2" fmla="*/ 36020 h 6164592"/>
              <a:gd name="connsiteX3" fmla="*/ 2829139 w 2860168"/>
              <a:gd name="connsiteY3" fmla="*/ 211188 h 6164592"/>
              <a:gd name="connsiteX4" fmla="*/ 2849875 w 2860168"/>
              <a:gd name="connsiteY4" fmla="*/ 554819 h 6164592"/>
              <a:gd name="connsiteX5" fmla="*/ 2851299 w 2860168"/>
              <a:gd name="connsiteY5" fmla="*/ 812870 h 6164592"/>
              <a:gd name="connsiteX6" fmla="*/ 2853943 w 2860168"/>
              <a:gd name="connsiteY6" fmla="*/ 1184828 h 6164592"/>
              <a:gd name="connsiteX7" fmla="*/ 2850180 w 2860168"/>
              <a:gd name="connsiteY7" fmla="*/ 1395330 h 6164592"/>
              <a:gd name="connsiteX8" fmla="*/ 2850180 w 2860168"/>
              <a:gd name="connsiteY8" fmla="*/ 5741852 h 6164592"/>
              <a:gd name="connsiteX9" fmla="*/ 2826801 w 2860168"/>
              <a:gd name="connsiteY9" fmla="*/ 5963732 h 6164592"/>
              <a:gd name="connsiteX10" fmla="*/ 2766015 w 2860168"/>
              <a:gd name="connsiteY10" fmla="*/ 6054820 h 6164592"/>
              <a:gd name="connsiteX11" fmla="*/ 2429356 w 2860168"/>
              <a:gd name="connsiteY11" fmla="*/ 6164592 h 6164592"/>
              <a:gd name="connsiteX12" fmla="*/ 362647 w 2860168"/>
              <a:gd name="connsiteY12" fmla="*/ 6162257 h 6164592"/>
              <a:gd name="connsiteX13" fmla="*/ 103139 w 2860168"/>
              <a:gd name="connsiteY13" fmla="*/ 6078176 h 6164592"/>
              <a:gd name="connsiteX14" fmla="*/ 7285 w 2860168"/>
              <a:gd name="connsiteY14" fmla="*/ 5828268 h 6164592"/>
              <a:gd name="connsiteX15" fmla="*/ 7285 w 2860168"/>
              <a:gd name="connsiteY15" fmla="*/ 3915425 h 6164592"/>
              <a:gd name="connsiteX16" fmla="*/ 7285 w 2860168"/>
              <a:gd name="connsiteY16" fmla="*/ 3214749 h 6164592"/>
              <a:gd name="connsiteX17" fmla="*/ 4947 w 2860168"/>
              <a:gd name="connsiteY17" fmla="*/ 687648 h 6164592"/>
              <a:gd name="connsiteX18" fmla="*/ 2609 w 2860168"/>
              <a:gd name="connsiteY18" fmla="*/ 398035 h 6164592"/>
              <a:gd name="connsiteX19" fmla="*/ 47029 w 2860168"/>
              <a:gd name="connsiteY19" fmla="*/ 152799 h 6164592"/>
              <a:gd name="connsiteX20" fmla="*/ 234062 w 2860168"/>
              <a:gd name="connsiteY20" fmla="*/ 22006 h 6164592"/>
              <a:gd name="connsiteX21" fmla="*/ 545003 w 2860168"/>
              <a:gd name="connsiteY21" fmla="*/ 7993 h 6164592"/>
              <a:gd name="connsiteX22" fmla="*/ 615141 w 2860168"/>
              <a:gd name="connsiteY22" fmla="*/ 85067 h 6164592"/>
              <a:gd name="connsiteX23" fmla="*/ 790484 w 2860168"/>
              <a:gd name="connsiteY23" fmla="*/ 250893 h 6164592"/>
              <a:gd name="connsiteX24" fmla="*/ 2022561 w 2860168"/>
              <a:gd name="connsiteY24" fmla="*/ 250893 h 6164592"/>
              <a:gd name="connsiteX25" fmla="*/ 2195566 w 2860168"/>
              <a:gd name="connsiteY25" fmla="*/ 178490 h 6164592"/>
              <a:gd name="connsiteX26" fmla="*/ 2230634 w 2860168"/>
              <a:gd name="connsiteY26" fmla="*/ 92074 h 6164592"/>
              <a:gd name="connsiteX27" fmla="*/ 2345192 w 2860168"/>
              <a:gd name="connsiteY27" fmla="*/ 986 h 6164592"/>
              <a:gd name="connsiteX0" fmla="*/ 2345192 w 2854520"/>
              <a:gd name="connsiteY0" fmla="*/ 986 h 6164592"/>
              <a:gd name="connsiteX1" fmla="*/ 2508845 w 2854520"/>
              <a:gd name="connsiteY1" fmla="*/ 10328 h 6164592"/>
              <a:gd name="connsiteX2" fmla="*/ 2663147 w 2854520"/>
              <a:gd name="connsiteY2" fmla="*/ 36020 h 6164592"/>
              <a:gd name="connsiteX3" fmla="*/ 2829139 w 2854520"/>
              <a:gd name="connsiteY3" fmla="*/ 211188 h 6164592"/>
              <a:gd name="connsiteX4" fmla="*/ 2849875 w 2854520"/>
              <a:gd name="connsiteY4" fmla="*/ 554819 h 6164592"/>
              <a:gd name="connsiteX5" fmla="*/ 2851299 w 2854520"/>
              <a:gd name="connsiteY5" fmla="*/ 812870 h 6164592"/>
              <a:gd name="connsiteX6" fmla="*/ 2853943 w 2854520"/>
              <a:gd name="connsiteY6" fmla="*/ 1184828 h 6164592"/>
              <a:gd name="connsiteX7" fmla="*/ 2850180 w 2854520"/>
              <a:gd name="connsiteY7" fmla="*/ 1395330 h 6164592"/>
              <a:gd name="connsiteX8" fmla="*/ 2850180 w 2854520"/>
              <a:gd name="connsiteY8" fmla="*/ 5741852 h 6164592"/>
              <a:gd name="connsiteX9" fmla="*/ 2826801 w 2854520"/>
              <a:gd name="connsiteY9" fmla="*/ 5963732 h 6164592"/>
              <a:gd name="connsiteX10" fmla="*/ 2766015 w 2854520"/>
              <a:gd name="connsiteY10" fmla="*/ 6054820 h 6164592"/>
              <a:gd name="connsiteX11" fmla="*/ 2429356 w 2854520"/>
              <a:gd name="connsiteY11" fmla="*/ 6164592 h 6164592"/>
              <a:gd name="connsiteX12" fmla="*/ 362647 w 2854520"/>
              <a:gd name="connsiteY12" fmla="*/ 6162257 h 6164592"/>
              <a:gd name="connsiteX13" fmla="*/ 103139 w 2854520"/>
              <a:gd name="connsiteY13" fmla="*/ 6078176 h 6164592"/>
              <a:gd name="connsiteX14" fmla="*/ 7285 w 2854520"/>
              <a:gd name="connsiteY14" fmla="*/ 5828268 h 6164592"/>
              <a:gd name="connsiteX15" fmla="*/ 7285 w 2854520"/>
              <a:gd name="connsiteY15" fmla="*/ 3915425 h 6164592"/>
              <a:gd name="connsiteX16" fmla="*/ 7285 w 2854520"/>
              <a:gd name="connsiteY16" fmla="*/ 3214749 h 6164592"/>
              <a:gd name="connsiteX17" fmla="*/ 4947 w 2854520"/>
              <a:gd name="connsiteY17" fmla="*/ 687648 h 6164592"/>
              <a:gd name="connsiteX18" fmla="*/ 2609 w 2854520"/>
              <a:gd name="connsiteY18" fmla="*/ 398035 h 6164592"/>
              <a:gd name="connsiteX19" fmla="*/ 47029 w 2854520"/>
              <a:gd name="connsiteY19" fmla="*/ 152799 h 6164592"/>
              <a:gd name="connsiteX20" fmla="*/ 234062 w 2854520"/>
              <a:gd name="connsiteY20" fmla="*/ 22006 h 6164592"/>
              <a:gd name="connsiteX21" fmla="*/ 545003 w 2854520"/>
              <a:gd name="connsiteY21" fmla="*/ 7993 h 6164592"/>
              <a:gd name="connsiteX22" fmla="*/ 615141 w 2854520"/>
              <a:gd name="connsiteY22" fmla="*/ 85067 h 6164592"/>
              <a:gd name="connsiteX23" fmla="*/ 790484 w 2854520"/>
              <a:gd name="connsiteY23" fmla="*/ 250893 h 6164592"/>
              <a:gd name="connsiteX24" fmla="*/ 2022561 w 2854520"/>
              <a:gd name="connsiteY24" fmla="*/ 250893 h 6164592"/>
              <a:gd name="connsiteX25" fmla="*/ 2195566 w 2854520"/>
              <a:gd name="connsiteY25" fmla="*/ 178490 h 6164592"/>
              <a:gd name="connsiteX26" fmla="*/ 2230634 w 2854520"/>
              <a:gd name="connsiteY26" fmla="*/ 92074 h 6164592"/>
              <a:gd name="connsiteX27" fmla="*/ 2345192 w 2854520"/>
              <a:gd name="connsiteY27" fmla="*/ 986 h 6164592"/>
              <a:gd name="connsiteX0" fmla="*/ 2345192 w 2854520"/>
              <a:gd name="connsiteY0" fmla="*/ 986 h 6164592"/>
              <a:gd name="connsiteX1" fmla="*/ 2508845 w 2854520"/>
              <a:gd name="connsiteY1" fmla="*/ 10328 h 6164592"/>
              <a:gd name="connsiteX2" fmla="*/ 2663147 w 2854520"/>
              <a:gd name="connsiteY2" fmla="*/ 36020 h 6164592"/>
              <a:gd name="connsiteX3" fmla="*/ 2829139 w 2854520"/>
              <a:gd name="connsiteY3" fmla="*/ 211188 h 6164592"/>
              <a:gd name="connsiteX4" fmla="*/ 2849875 w 2854520"/>
              <a:gd name="connsiteY4" fmla="*/ 554819 h 6164592"/>
              <a:gd name="connsiteX5" fmla="*/ 2851299 w 2854520"/>
              <a:gd name="connsiteY5" fmla="*/ 812870 h 6164592"/>
              <a:gd name="connsiteX6" fmla="*/ 2853943 w 2854520"/>
              <a:gd name="connsiteY6" fmla="*/ 1184828 h 6164592"/>
              <a:gd name="connsiteX7" fmla="*/ 2850180 w 2854520"/>
              <a:gd name="connsiteY7" fmla="*/ 1395330 h 6164592"/>
              <a:gd name="connsiteX8" fmla="*/ 2850180 w 2854520"/>
              <a:gd name="connsiteY8" fmla="*/ 5741852 h 6164592"/>
              <a:gd name="connsiteX9" fmla="*/ 2826801 w 2854520"/>
              <a:gd name="connsiteY9" fmla="*/ 5963732 h 6164592"/>
              <a:gd name="connsiteX10" fmla="*/ 2766015 w 2854520"/>
              <a:gd name="connsiteY10" fmla="*/ 6054820 h 6164592"/>
              <a:gd name="connsiteX11" fmla="*/ 2429356 w 2854520"/>
              <a:gd name="connsiteY11" fmla="*/ 6164592 h 6164592"/>
              <a:gd name="connsiteX12" fmla="*/ 362647 w 2854520"/>
              <a:gd name="connsiteY12" fmla="*/ 6162257 h 6164592"/>
              <a:gd name="connsiteX13" fmla="*/ 103139 w 2854520"/>
              <a:gd name="connsiteY13" fmla="*/ 6078176 h 6164592"/>
              <a:gd name="connsiteX14" fmla="*/ 7285 w 2854520"/>
              <a:gd name="connsiteY14" fmla="*/ 5828268 h 6164592"/>
              <a:gd name="connsiteX15" fmla="*/ 7285 w 2854520"/>
              <a:gd name="connsiteY15" fmla="*/ 3915425 h 6164592"/>
              <a:gd name="connsiteX16" fmla="*/ 7285 w 2854520"/>
              <a:gd name="connsiteY16" fmla="*/ 3214749 h 6164592"/>
              <a:gd name="connsiteX17" fmla="*/ 4947 w 2854520"/>
              <a:gd name="connsiteY17" fmla="*/ 687648 h 6164592"/>
              <a:gd name="connsiteX18" fmla="*/ 2609 w 2854520"/>
              <a:gd name="connsiteY18" fmla="*/ 398035 h 6164592"/>
              <a:gd name="connsiteX19" fmla="*/ 47029 w 2854520"/>
              <a:gd name="connsiteY19" fmla="*/ 152799 h 6164592"/>
              <a:gd name="connsiteX20" fmla="*/ 234062 w 2854520"/>
              <a:gd name="connsiteY20" fmla="*/ 22006 h 6164592"/>
              <a:gd name="connsiteX21" fmla="*/ 545003 w 2854520"/>
              <a:gd name="connsiteY21" fmla="*/ 7993 h 6164592"/>
              <a:gd name="connsiteX22" fmla="*/ 615141 w 2854520"/>
              <a:gd name="connsiteY22" fmla="*/ 85067 h 6164592"/>
              <a:gd name="connsiteX23" fmla="*/ 790484 w 2854520"/>
              <a:gd name="connsiteY23" fmla="*/ 250893 h 6164592"/>
              <a:gd name="connsiteX24" fmla="*/ 2022561 w 2854520"/>
              <a:gd name="connsiteY24" fmla="*/ 250893 h 6164592"/>
              <a:gd name="connsiteX25" fmla="*/ 2195566 w 2854520"/>
              <a:gd name="connsiteY25" fmla="*/ 178490 h 6164592"/>
              <a:gd name="connsiteX26" fmla="*/ 2230634 w 2854520"/>
              <a:gd name="connsiteY26" fmla="*/ 92074 h 6164592"/>
              <a:gd name="connsiteX27" fmla="*/ 2345192 w 2854520"/>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52799 h 6164592"/>
              <a:gd name="connsiteX20" fmla="*/ 234062 w 2860975"/>
              <a:gd name="connsiteY20" fmla="*/ 22006 h 6164592"/>
              <a:gd name="connsiteX21" fmla="*/ 545003 w 2860975"/>
              <a:gd name="connsiteY21" fmla="*/ 7993 h 6164592"/>
              <a:gd name="connsiteX22" fmla="*/ 615141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52799 h 6164592"/>
              <a:gd name="connsiteX20" fmla="*/ 234062 w 2860975"/>
              <a:gd name="connsiteY20" fmla="*/ 22006 h 6164592"/>
              <a:gd name="connsiteX21" fmla="*/ 545003 w 2860975"/>
              <a:gd name="connsiteY21" fmla="*/ 7993 h 6164592"/>
              <a:gd name="connsiteX22" fmla="*/ 615141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52799 h 6164592"/>
              <a:gd name="connsiteX20" fmla="*/ 234062 w 2860975"/>
              <a:gd name="connsiteY20" fmla="*/ 22006 h 6164592"/>
              <a:gd name="connsiteX21" fmla="*/ 545003 w 2860975"/>
              <a:gd name="connsiteY21" fmla="*/ 7993 h 6164592"/>
              <a:gd name="connsiteX22" fmla="*/ 641370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52799 h 6164592"/>
              <a:gd name="connsiteX20" fmla="*/ 234062 w 2860975"/>
              <a:gd name="connsiteY20" fmla="*/ 39492 h 6164592"/>
              <a:gd name="connsiteX21" fmla="*/ 545003 w 2860975"/>
              <a:gd name="connsiteY21" fmla="*/ 7993 h 6164592"/>
              <a:gd name="connsiteX22" fmla="*/ 641370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79028 h 6164592"/>
              <a:gd name="connsiteX20" fmla="*/ 234062 w 2860975"/>
              <a:gd name="connsiteY20" fmla="*/ 39492 h 6164592"/>
              <a:gd name="connsiteX21" fmla="*/ 545003 w 2860975"/>
              <a:gd name="connsiteY21" fmla="*/ 7993 h 6164592"/>
              <a:gd name="connsiteX22" fmla="*/ 641370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5192 w 2860975"/>
              <a:gd name="connsiteY0" fmla="*/ 986 h 6164592"/>
              <a:gd name="connsiteX1" fmla="*/ 2508845 w 2860975"/>
              <a:gd name="connsiteY1" fmla="*/ 10328 h 6164592"/>
              <a:gd name="connsiteX2" fmla="*/ 2663147 w 2860975"/>
              <a:gd name="connsiteY2" fmla="*/ 36020 h 6164592"/>
              <a:gd name="connsiteX3" fmla="*/ 2829139 w 2860975"/>
              <a:gd name="connsiteY3" fmla="*/ 211188 h 6164592"/>
              <a:gd name="connsiteX4" fmla="*/ 2858618 w 2860975"/>
              <a:gd name="connsiteY4" fmla="*/ 550447 h 6164592"/>
              <a:gd name="connsiteX5" fmla="*/ 2851299 w 2860975"/>
              <a:gd name="connsiteY5" fmla="*/ 812870 h 6164592"/>
              <a:gd name="connsiteX6" fmla="*/ 2853943 w 2860975"/>
              <a:gd name="connsiteY6" fmla="*/ 1184828 h 6164592"/>
              <a:gd name="connsiteX7" fmla="*/ 2850180 w 2860975"/>
              <a:gd name="connsiteY7" fmla="*/ 1395330 h 6164592"/>
              <a:gd name="connsiteX8" fmla="*/ 2850180 w 2860975"/>
              <a:gd name="connsiteY8" fmla="*/ 5741852 h 6164592"/>
              <a:gd name="connsiteX9" fmla="*/ 2826801 w 2860975"/>
              <a:gd name="connsiteY9" fmla="*/ 5963732 h 6164592"/>
              <a:gd name="connsiteX10" fmla="*/ 2766015 w 2860975"/>
              <a:gd name="connsiteY10" fmla="*/ 6054820 h 6164592"/>
              <a:gd name="connsiteX11" fmla="*/ 2429356 w 2860975"/>
              <a:gd name="connsiteY11" fmla="*/ 6164592 h 6164592"/>
              <a:gd name="connsiteX12" fmla="*/ 362647 w 2860975"/>
              <a:gd name="connsiteY12" fmla="*/ 6162257 h 6164592"/>
              <a:gd name="connsiteX13" fmla="*/ 103139 w 2860975"/>
              <a:gd name="connsiteY13" fmla="*/ 6078176 h 6164592"/>
              <a:gd name="connsiteX14" fmla="*/ 7285 w 2860975"/>
              <a:gd name="connsiteY14" fmla="*/ 5828268 h 6164592"/>
              <a:gd name="connsiteX15" fmla="*/ 7285 w 2860975"/>
              <a:gd name="connsiteY15" fmla="*/ 3915425 h 6164592"/>
              <a:gd name="connsiteX16" fmla="*/ 7285 w 2860975"/>
              <a:gd name="connsiteY16" fmla="*/ 3214749 h 6164592"/>
              <a:gd name="connsiteX17" fmla="*/ 4947 w 2860975"/>
              <a:gd name="connsiteY17" fmla="*/ 687648 h 6164592"/>
              <a:gd name="connsiteX18" fmla="*/ 2609 w 2860975"/>
              <a:gd name="connsiteY18" fmla="*/ 398035 h 6164592"/>
              <a:gd name="connsiteX19" fmla="*/ 47029 w 2860975"/>
              <a:gd name="connsiteY19" fmla="*/ 179028 h 6164592"/>
              <a:gd name="connsiteX20" fmla="*/ 234062 w 2860975"/>
              <a:gd name="connsiteY20" fmla="*/ 39492 h 6164592"/>
              <a:gd name="connsiteX21" fmla="*/ 545003 w 2860975"/>
              <a:gd name="connsiteY21" fmla="*/ 21107 h 6164592"/>
              <a:gd name="connsiteX22" fmla="*/ 641370 w 2860975"/>
              <a:gd name="connsiteY22" fmla="*/ 85067 h 6164592"/>
              <a:gd name="connsiteX23" fmla="*/ 790484 w 2860975"/>
              <a:gd name="connsiteY23" fmla="*/ 250893 h 6164592"/>
              <a:gd name="connsiteX24" fmla="*/ 2022561 w 2860975"/>
              <a:gd name="connsiteY24" fmla="*/ 250893 h 6164592"/>
              <a:gd name="connsiteX25" fmla="*/ 2195566 w 2860975"/>
              <a:gd name="connsiteY25" fmla="*/ 178490 h 6164592"/>
              <a:gd name="connsiteX26" fmla="*/ 2230634 w 2860975"/>
              <a:gd name="connsiteY26" fmla="*/ 92074 h 6164592"/>
              <a:gd name="connsiteX27" fmla="*/ 2345192 w 2860975"/>
              <a:gd name="connsiteY27" fmla="*/ 986 h 6164592"/>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790484 w 2860975"/>
              <a:gd name="connsiteY23" fmla="*/ 242419 h 6156118"/>
              <a:gd name="connsiteX24" fmla="*/ 2022561 w 2860975"/>
              <a:gd name="connsiteY24" fmla="*/ 242419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790484 w 2860975"/>
              <a:gd name="connsiteY23" fmla="*/ 242419 h 6156118"/>
              <a:gd name="connsiteX24" fmla="*/ 2022561 w 2860975"/>
              <a:gd name="connsiteY24" fmla="*/ 242419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790484 w 2860975"/>
              <a:gd name="connsiteY23" fmla="*/ 242419 h 6156118"/>
              <a:gd name="connsiteX24" fmla="*/ 2022561 w 2860975"/>
              <a:gd name="connsiteY24" fmla="*/ 242419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790484 w 2860975"/>
              <a:gd name="connsiteY23" fmla="*/ 242419 h 6156118"/>
              <a:gd name="connsiteX24" fmla="*/ 2022561 w 2860975"/>
              <a:gd name="connsiteY24" fmla="*/ 242419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2561 w 2860975"/>
              <a:gd name="connsiteY24" fmla="*/ 242419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95566 w 2860975"/>
              <a:gd name="connsiteY25" fmla="*/ 170016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60776 w 2860975"/>
              <a:gd name="connsiteY25" fmla="*/ 163057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60776 w 2860975"/>
              <a:gd name="connsiteY25" fmla="*/ 163057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60776 w 2860975"/>
              <a:gd name="connsiteY25" fmla="*/ 163057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60776 w 2860975"/>
              <a:gd name="connsiteY25" fmla="*/ 163057 h 6156118"/>
              <a:gd name="connsiteX26" fmla="*/ 2230634 w 2860975"/>
              <a:gd name="connsiteY26" fmla="*/ 83600 h 6156118"/>
              <a:gd name="connsiteX27" fmla="*/ 2340821 w 2860975"/>
              <a:gd name="connsiteY27" fmla="*/ 5626 h 6156118"/>
              <a:gd name="connsiteX0" fmla="*/ 2340821 w 2860975"/>
              <a:gd name="connsiteY0" fmla="*/ 5626 h 6156118"/>
              <a:gd name="connsiteX1" fmla="*/ 2508845 w 2860975"/>
              <a:gd name="connsiteY1" fmla="*/ 1854 h 6156118"/>
              <a:gd name="connsiteX2" fmla="*/ 2663147 w 2860975"/>
              <a:gd name="connsiteY2" fmla="*/ 27546 h 6156118"/>
              <a:gd name="connsiteX3" fmla="*/ 2829139 w 2860975"/>
              <a:gd name="connsiteY3" fmla="*/ 202714 h 6156118"/>
              <a:gd name="connsiteX4" fmla="*/ 2858618 w 2860975"/>
              <a:gd name="connsiteY4" fmla="*/ 541973 h 6156118"/>
              <a:gd name="connsiteX5" fmla="*/ 2851299 w 2860975"/>
              <a:gd name="connsiteY5" fmla="*/ 804396 h 6156118"/>
              <a:gd name="connsiteX6" fmla="*/ 2853943 w 2860975"/>
              <a:gd name="connsiteY6" fmla="*/ 1176354 h 6156118"/>
              <a:gd name="connsiteX7" fmla="*/ 2850180 w 2860975"/>
              <a:gd name="connsiteY7" fmla="*/ 1386856 h 6156118"/>
              <a:gd name="connsiteX8" fmla="*/ 2850180 w 2860975"/>
              <a:gd name="connsiteY8" fmla="*/ 5733378 h 6156118"/>
              <a:gd name="connsiteX9" fmla="*/ 2826801 w 2860975"/>
              <a:gd name="connsiteY9" fmla="*/ 5955258 h 6156118"/>
              <a:gd name="connsiteX10" fmla="*/ 2766015 w 2860975"/>
              <a:gd name="connsiteY10" fmla="*/ 6046346 h 6156118"/>
              <a:gd name="connsiteX11" fmla="*/ 2429356 w 2860975"/>
              <a:gd name="connsiteY11" fmla="*/ 6156118 h 6156118"/>
              <a:gd name="connsiteX12" fmla="*/ 362647 w 2860975"/>
              <a:gd name="connsiteY12" fmla="*/ 6153783 h 6156118"/>
              <a:gd name="connsiteX13" fmla="*/ 103139 w 2860975"/>
              <a:gd name="connsiteY13" fmla="*/ 6069702 h 6156118"/>
              <a:gd name="connsiteX14" fmla="*/ 7285 w 2860975"/>
              <a:gd name="connsiteY14" fmla="*/ 5819794 h 6156118"/>
              <a:gd name="connsiteX15" fmla="*/ 7285 w 2860975"/>
              <a:gd name="connsiteY15" fmla="*/ 3906951 h 6156118"/>
              <a:gd name="connsiteX16" fmla="*/ 7285 w 2860975"/>
              <a:gd name="connsiteY16" fmla="*/ 3206275 h 6156118"/>
              <a:gd name="connsiteX17" fmla="*/ 4947 w 2860975"/>
              <a:gd name="connsiteY17" fmla="*/ 679174 h 6156118"/>
              <a:gd name="connsiteX18" fmla="*/ 2609 w 2860975"/>
              <a:gd name="connsiteY18" fmla="*/ 389561 h 6156118"/>
              <a:gd name="connsiteX19" fmla="*/ 47029 w 2860975"/>
              <a:gd name="connsiteY19" fmla="*/ 170554 h 6156118"/>
              <a:gd name="connsiteX20" fmla="*/ 234062 w 2860975"/>
              <a:gd name="connsiteY20" fmla="*/ 31018 h 6156118"/>
              <a:gd name="connsiteX21" fmla="*/ 545003 w 2860975"/>
              <a:gd name="connsiteY21" fmla="*/ 12633 h 6156118"/>
              <a:gd name="connsiteX22" fmla="*/ 641370 w 2860975"/>
              <a:gd name="connsiteY22" fmla="*/ 76593 h 6156118"/>
              <a:gd name="connsiteX23" fmla="*/ 853104 w 2860975"/>
              <a:gd name="connsiteY23" fmla="*/ 193715 h 6156118"/>
              <a:gd name="connsiteX24" fmla="*/ 2029518 w 2860975"/>
              <a:gd name="connsiteY24" fmla="*/ 193715 h 6156118"/>
              <a:gd name="connsiteX25" fmla="*/ 2160776 w 2860975"/>
              <a:gd name="connsiteY25" fmla="*/ 163057 h 6156118"/>
              <a:gd name="connsiteX26" fmla="*/ 2205413 w 2860975"/>
              <a:gd name="connsiteY26" fmla="*/ 89905 h 6156118"/>
              <a:gd name="connsiteX27" fmla="*/ 2340821 w 2860975"/>
              <a:gd name="connsiteY27" fmla="*/ 5626 h 6156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860975" h="6156118">
                <a:moveTo>
                  <a:pt x="2340821" y="5626"/>
                </a:moveTo>
                <a:cubicBezTo>
                  <a:pt x="2394593" y="10297"/>
                  <a:pt x="2455073" y="-5153"/>
                  <a:pt x="2508845" y="1854"/>
                </a:cubicBezTo>
                <a:cubicBezTo>
                  <a:pt x="2560279" y="6525"/>
                  <a:pt x="2614051" y="11197"/>
                  <a:pt x="2663147" y="27546"/>
                </a:cubicBezTo>
                <a:cubicBezTo>
                  <a:pt x="2749650" y="55573"/>
                  <a:pt x="2805759" y="116298"/>
                  <a:pt x="2829139" y="202714"/>
                </a:cubicBezTo>
                <a:cubicBezTo>
                  <a:pt x="2861869" y="317158"/>
                  <a:pt x="2864207" y="422859"/>
                  <a:pt x="2858618" y="541973"/>
                </a:cubicBezTo>
                <a:cubicBezTo>
                  <a:pt x="2851299" y="627790"/>
                  <a:pt x="2852078" y="698666"/>
                  <a:pt x="2851299" y="804396"/>
                </a:cubicBezTo>
                <a:cubicBezTo>
                  <a:pt x="2850520" y="910126"/>
                  <a:pt x="2851605" y="1050232"/>
                  <a:pt x="2853943" y="1176354"/>
                </a:cubicBezTo>
                <a:cubicBezTo>
                  <a:pt x="2856281" y="1248757"/>
                  <a:pt x="2850807" y="627352"/>
                  <a:pt x="2850180" y="1386856"/>
                </a:cubicBezTo>
                <a:cubicBezTo>
                  <a:pt x="2849553" y="2146360"/>
                  <a:pt x="2850180" y="4284537"/>
                  <a:pt x="2850180" y="5733378"/>
                </a:cubicBezTo>
                <a:cubicBezTo>
                  <a:pt x="2850180" y="5808116"/>
                  <a:pt x="2840828" y="5882855"/>
                  <a:pt x="2826801" y="5955258"/>
                </a:cubicBezTo>
                <a:cubicBezTo>
                  <a:pt x="2819787" y="5987956"/>
                  <a:pt x="2791732" y="6020654"/>
                  <a:pt x="2766015" y="6046346"/>
                </a:cubicBezTo>
                <a:cubicBezTo>
                  <a:pt x="2674837" y="6142105"/>
                  <a:pt x="2555603" y="6156118"/>
                  <a:pt x="2429356" y="6156118"/>
                </a:cubicBezTo>
                <a:lnTo>
                  <a:pt x="362647" y="6153783"/>
                </a:lnTo>
                <a:cubicBezTo>
                  <a:pt x="269130" y="6153783"/>
                  <a:pt x="177952" y="6139769"/>
                  <a:pt x="103139" y="6069702"/>
                </a:cubicBezTo>
                <a:cubicBezTo>
                  <a:pt x="33002" y="6001970"/>
                  <a:pt x="7285" y="5913218"/>
                  <a:pt x="7285" y="5819794"/>
                </a:cubicBezTo>
                <a:cubicBezTo>
                  <a:pt x="4947" y="5182180"/>
                  <a:pt x="7285" y="4544565"/>
                  <a:pt x="7285" y="3906951"/>
                </a:cubicBezTo>
                <a:lnTo>
                  <a:pt x="7285" y="3206275"/>
                </a:lnTo>
                <a:cubicBezTo>
                  <a:pt x="7285" y="2363130"/>
                  <a:pt x="7285" y="1522319"/>
                  <a:pt x="4947" y="679174"/>
                </a:cubicBezTo>
                <a:cubicBezTo>
                  <a:pt x="4947" y="583415"/>
                  <a:pt x="-4405" y="485320"/>
                  <a:pt x="2609" y="389561"/>
                </a:cubicBezTo>
                <a:cubicBezTo>
                  <a:pt x="7285" y="307816"/>
                  <a:pt x="23650" y="249964"/>
                  <a:pt x="47029" y="170554"/>
                </a:cubicBezTo>
                <a:cubicBezTo>
                  <a:pt x="75084" y="84137"/>
                  <a:pt x="151066" y="57338"/>
                  <a:pt x="234062" y="31018"/>
                </a:cubicBezTo>
                <a:cubicBezTo>
                  <a:pt x="317058" y="4698"/>
                  <a:pt x="477118" y="5037"/>
                  <a:pt x="545003" y="12633"/>
                </a:cubicBezTo>
                <a:cubicBezTo>
                  <a:pt x="612888" y="20229"/>
                  <a:pt x="636694" y="29881"/>
                  <a:pt x="641370" y="76593"/>
                </a:cubicBezTo>
                <a:cubicBezTo>
                  <a:pt x="687972" y="205752"/>
                  <a:pt x="791992" y="193111"/>
                  <a:pt x="853104" y="193715"/>
                </a:cubicBezTo>
                <a:lnTo>
                  <a:pt x="2029518" y="193715"/>
                </a:lnTo>
                <a:cubicBezTo>
                  <a:pt x="2064606" y="188605"/>
                  <a:pt x="2108420" y="181980"/>
                  <a:pt x="2160776" y="163057"/>
                </a:cubicBezTo>
                <a:cubicBezTo>
                  <a:pt x="2179479" y="137366"/>
                  <a:pt x="2200737" y="120267"/>
                  <a:pt x="2205413" y="89905"/>
                </a:cubicBezTo>
                <a:cubicBezTo>
                  <a:pt x="2217103" y="22173"/>
                  <a:pt x="2251164" y="11733"/>
                  <a:pt x="2340821" y="5626"/>
                </a:cubicBezTo>
                <a:close/>
              </a:path>
            </a:pathLst>
          </a:custGeom>
          <a:blipFill>
            <a:blip r:embed="rId5"/>
            <a:stretch>
              <a:fillRect l="-121001" r="-138446" b="-5101"/>
            </a:stretch>
          </a:blipFill>
        </p:spPr>
        <p:txBody>
          <a:bodyPr wrap="square" anchor="ctr" anchorCtr="1">
            <a:noAutofit/>
          </a:bodyPr>
          <a:lstStyle>
            <a:lvl1pPr marL="0" indent="0">
              <a:buNone/>
              <a:defRPr/>
            </a:lvl1pPr>
          </a:lstStyle>
          <a:p>
            <a:endParaRPr lang="en-US"/>
          </a:p>
        </p:txBody>
      </p:sp>
    </p:spTree>
    <p:extLst>
      <p:ext uri="{BB962C8B-B14F-4D97-AF65-F5344CB8AC3E}">
        <p14:creationId xmlns:p14="http://schemas.microsoft.com/office/powerpoint/2010/main" val="350342416"/>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_Section Title ">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3035808"/>
            <a:ext cx="446176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1668E506-409A-41C4-BE8D-57DFB955DA6B}"/>
              </a:ext>
              <a:ext uri="{C183D7F6-B498-43B3-948B-1728B52AA6E4}">
                <adec:decorative xmlns:adec="http://schemas.microsoft.com/office/drawing/2017/decorative" val="1"/>
              </a:ext>
            </a:extLst>
          </p:cNvPr>
          <p:cNvPicPr>
            <a:picLocks noChangeAspect="1"/>
          </p:cNvPicPr>
          <p:nvPr userDrawn="1"/>
        </p:nvPicPr>
        <p:blipFill rotWithShape="1">
          <a:blip r:embed="rId2"/>
          <a:srcRect l="9979" t="4427" r="17594" b="14099"/>
          <a:stretch/>
        </p:blipFill>
        <p:spPr>
          <a:xfrm>
            <a:off x="6210301" y="438396"/>
            <a:ext cx="5562600" cy="5606804"/>
          </a:xfrm>
          <a:prstGeom prst="rect">
            <a:avLst/>
          </a:prstGeom>
        </p:spPr>
      </p:pic>
    </p:spTree>
    <p:extLst>
      <p:ext uri="{BB962C8B-B14F-4D97-AF65-F5344CB8AC3E}">
        <p14:creationId xmlns:p14="http://schemas.microsoft.com/office/powerpoint/2010/main" val="12955392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177">
          <p15:clr>
            <a:srgbClr val="5ACBF0"/>
          </p15:clr>
        </p15:guide>
        <p15:guide id="3" orient="horz" pos="1910">
          <p15:clr>
            <a:srgbClr val="5ACBF0"/>
          </p15:clr>
        </p15:guide>
        <p15:guide id="4" pos="546">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Title Slide 2">
    <p:bg>
      <p:bgPr>
        <a:solidFill>
          <a:schemeClr val="bg1">
            <a:lumMod val="95000"/>
          </a:schemeClr>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D4787F3A-A08A-4DAA-9F6C-47567B8D3CE6}"/>
              </a:ext>
              <a:ext uri="{C183D7F6-B498-43B3-948B-1728B52AA6E4}">
                <adec:decorative xmlns:adec="http://schemas.microsoft.com/office/drawing/2017/decorative" val="1"/>
              </a:ext>
            </a:extLst>
          </p:cNvPr>
          <p:cNvPicPr>
            <a:picLocks noChangeAspect="1"/>
          </p:cNvPicPr>
          <p:nvPr userDrawn="1"/>
        </p:nvPicPr>
        <p:blipFill rotWithShape="1">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t="23663" r="34767" b="32134"/>
          <a:stretch/>
        </p:blipFill>
        <p:spPr>
          <a:xfrm>
            <a:off x="2480389" y="0"/>
            <a:ext cx="9731489" cy="6858000"/>
          </a:xfrm>
          <a:prstGeom prst="rect">
            <a:avLst/>
          </a:prstGeom>
        </p:spPr>
      </p:pic>
      <p:grpSp>
        <p:nvGrpSpPr>
          <p:cNvPr id="21" name="Group 20">
            <a:extLst>
              <a:ext uri="{FF2B5EF4-FFF2-40B4-BE49-F238E27FC236}">
                <a16:creationId xmlns:a16="http://schemas.microsoft.com/office/drawing/2014/main" id="{3DE60D45-CBF6-40DE-972D-2F565806DB28}"/>
              </a:ext>
              <a:ext uri="{C183D7F6-B498-43B3-948B-1728B52AA6E4}">
                <adec:decorative xmlns:adec="http://schemas.microsoft.com/office/drawing/2017/decorative" val="1"/>
              </a:ext>
            </a:extLst>
          </p:cNvPr>
          <p:cNvGrpSpPr/>
          <p:nvPr userDrawn="1"/>
        </p:nvGrpSpPr>
        <p:grpSpPr>
          <a:xfrm>
            <a:off x="4353128" y="303900"/>
            <a:ext cx="2018242" cy="2018242"/>
            <a:chOff x="2275764" y="3933567"/>
            <a:chExt cx="3803604" cy="3803604"/>
          </a:xfrm>
        </p:grpSpPr>
        <p:pic>
          <p:nvPicPr>
            <p:cNvPr id="22" name="Picture 21">
              <a:extLst>
                <a:ext uri="{FF2B5EF4-FFF2-40B4-BE49-F238E27FC236}">
                  <a16:creationId xmlns:a16="http://schemas.microsoft.com/office/drawing/2014/main" id="{6DB06810-1416-4321-905C-F2FCEF9A49D7}"/>
                </a:ext>
              </a:extLst>
            </p:cNvPr>
            <p:cNvPicPr>
              <a:picLocks noChangeAspect="1"/>
            </p:cNvPicPr>
            <p:nvPr/>
          </p:nvPicPr>
          <p:blipFill rotWithShape="1">
            <a:blip r:embed="rId4" cstate="hqprint">
              <a:extLst>
                <a:ext uri="{28A0092B-C50C-407E-A947-70E740481C1C}">
                  <a14:useLocalDpi xmlns:a14="http://schemas.microsoft.com/office/drawing/2010/main" val="0"/>
                </a:ext>
              </a:extLst>
            </a:blip>
            <a:srcRect l="25196" r="8120"/>
            <a:stretch/>
          </p:blipFill>
          <p:spPr>
            <a:xfrm flipH="1">
              <a:off x="2275764" y="3933567"/>
              <a:ext cx="3803604" cy="3803604"/>
            </a:xfrm>
            <a:prstGeom prst="ellipse">
              <a:avLst/>
            </a:prstGeom>
            <a:solidFill>
              <a:schemeClr val="bg1"/>
            </a:solidFill>
            <a:ln>
              <a:noFill/>
              <a:headEnd type="none" w="med" len="med"/>
              <a:tailEnd type="none" w="med" len="med"/>
            </a:ln>
            <a:effectLst>
              <a:outerShdw blurRad="190500" algn="ctr" rotWithShape="0">
                <a:prstClr val="black">
                  <a:alpha val="10000"/>
                </a:prstClr>
              </a:outerShdw>
            </a:effectLst>
          </p:spPr>
        </p:pic>
        <p:sp>
          <p:nvSpPr>
            <p:cNvPr id="23" name="Oval 22">
              <a:extLst>
                <a:ext uri="{FF2B5EF4-FFF2-40B4-BE49-F238E27FC236}">
                  <a16:creationId xmlns:a16="http://schemas.microsoft.com/office/drawing/2014/main" id="{FD7A5B7C-458C-4F7F-8B4F-48FE70C37D6B}"/>
                </a:ext>
              </a:extLst>
            </p:cNvPr>
            <p:cNvSpPr>
              <a:spLocks noChangeAspect="1"/>
            </p:cNvSpPr>
            <p:nvPr/>
          </p:nvSpPr>
          <p:spPr bwMode="auto">
            <a:xfrm>
              <a:off x="2320015" y="3987521"/>
              <a:ext cx="3695696" cy="3695696"/>
            </a:xfrm>
            <a:prstGeom prst="ellipse">
              <a:avLst/>
            </a:prstGeom>
            <a:noFill/>
            <a:ln w="1778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grpSp>
      <p:pic>
        <p:nvPicPr>
          <p:cNvPr id="24" name="Picture 23">
            <a:extLst>
              <a:ext uri="{FF2B5EF4-FFF2-40B4-BE49-F238E27FC236}">
                <a16:creationId xmlns:a16="http://schemas.microsoft.com/office/drawing/2014/main" id="{E72236F0-F8FC-4980-835B-EB07ED11906E}"/>
              </a:ext>
              <a:ext uri="{C183D7F6-B498-43B3-948B-1728B52AA6E4}">
                <adec:decorative xmlns:adec="http://schemas.microsoft.com/office/drawing/2017/decorative" val="1"/>
              </a:ext>
            </a:extLst>
          </p:cNvPr>
          <p:cNvPicPr>
            <a:picLocks noChangeAspect="1"/>
          </p:cNvPicPr>
          <p:nvPr userDrawn="1"/>
        </p:nvPicPr>
        <p:blipFill>
          <a:blip r:embed="rId5" cstate="hqprint">
            <a:extLst>
              <a:ext uri="{28A0092B-C50C-407E-A947-70E740481C1C}">
                <a14:useLocalDpi xmlns:a14="http://schemas.microsoft.com/office/drawing/2010/main" val="0"/>
              </a:ext>
            </a:extLst>
          </a:blip>
          <a:srcRect l="16626" r="16626"/>
          <a:stretch/>
        </p:blipFill>
        <p:spPr>
          <a:xfrm>
            <a:off x="7702580" y="1147846"/>
            <a:ext cx="4264133" cy="4264133"/>
          </a:xfrm>
          <a:prstGeom prst="ellipse">
            <a:avLst/>
          </a:prstGeom>
          <a:effectLst>
            <a:outerShdw blurRad="482600" dist="127000" dir="2700000" sx="101000" sy="101000" algn="ctr" rotWithShape="0">
              <a:prstClr val="black">
                <a:alpha val="29000"/>
              </a:prstClr>
            </a:outerShdw>
          </a:effectLst>
        </p:spPr>
      </p:pic>
      <p:sp>
        <p:nvSpPr>
          <p:cNvPr id="9" name="Title 1"/>
          <p:cNvSpPr>
            <a:spLocks noGrp="1"/>
          </p:cNvSpPr>
          <p:nvPr>
            <p:ph type="title" hasCustomPrompt="1"/>
          </p:nvPr>
        </p:nvSpPr>
        <p:spPr>
          <a:xfrm>
            <a:off x="584199" y="2425780"/>
            <a:ext cx="6194287" cy="1107996"/>
          </a:xfrm>
          <a:noFill/>
        </p:spPr>
        <p:txBody>
          <a:bodyPr wrap="square" lIns="0" tIns="0" rIns="0" bIns="0" anchor="b" anchorCtr="0">
            <a:spAutoFit/>
          </a:bodyPr>
          <a:lstStyle>
            <a:lvl1pPr>
              <a:defRPr sz="3600" spc="-50" baseline="0">
                <a:solidFill>
                  <a:srgbClr val="000000"/>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298440" cy="246221"/>
          </a:xfrm>
          <a:noFill/>
        </p:spPr>
        <p:txBody>
          <a:bodyPr wrap="square" lIns="0" tIns="0" rIns="0" bIns="0">
            <a:spAutoFit/>
          </a:bodyPr>
          <a:lstStyle>
            <a:lvl1pPr marL="0" indent="0">
              <a:spcBef>
                <a:spcPts val="0"/>
              </a:spcBef>
              <a:buNone/>
              <a:defRPr sz="1600" spc="0" baseline="0">
                <a:solidFill>
                  <a:srgbClr val="000000"/>
                </a:solidFill>
                <a:latin typeface="+mn-lt"/>
                <a:cs typeface="Segoe UI" panose="020B0502040204020203" pitchFamily="34" charset="0"/>
              </a:defRPr>
            </a:lvl1pPr>
          </a:lstStyle>
          <a:p>
            <a:pPr lvl="0"/>
            <a:r>
              <a:rPr lang="en-US"/>
              <a:t>Speaker name or subtitle text</a:t>
            </a:r>
          </a:p>
        </p:txBody>
      </p:sp>
      <p:pic>
        <p:nvPicPr>
          <p:cNvPr id="2" name="MS logo gray - EMF" descr="Microsoft logo, gray text version">
            <a:extLst>
              <a:ext uri="{FF2B5EF4-FFF2-40B4-BE49-F238E27FC236}">
                <a16:creationId xmlns:a16="http://schemas.microsoft.com/office/drawing/2014/main" id="{048BF6F0-39E7-41BE-852C-3E0F3448DE6D}"/>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723371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5_Title Slide 2">
    <p:bg>
      <p:bgPr>
        <a:solidFill>
          <a:schemeClr val="bg1">
            <a:lumMod val="95000"/>
          </a:schemeClr>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8966AEB-1BE1-4ECF-BD59-65DC54ED85CB}"/>
              </a:ext>
              <a:ext uri="{C183D7F6-B498-43B3-948B-1728B52AA6E4}">
                <adec:decorative xmlns:adec="http://schemas.microsoft.com/office/drawing/2017/decorative" val="1"/>
              </a:ext>
            </a:extLst>
          </p:cNvPr>
          <p:cNvPicPr>
            <a:picLocks noChangeAspect="1"/>
          </p:cNvPicPr>
          <p:nvPr userDrawn="1"/>
        </p:nvPicPr>
        <p:blipFill rotWithShape="1">
          <a:blip r:embed="rId2"/>
          <a:srcRect l="1" t="2900" r="19131" b="10469"/>
          <a:stretch/>
        </p:blipFill>
        <p:spPr>
          <a:xfrm>
            <a:off x="1308100" y="-8152013"/>
            <a:ext cx="14926666" cy="14327860"/>
          </a:xfrm>
          <a:prstGeom prst="rect">
            <a:avLst/>
          </a:prstGeom>
        </p:spPr>
      </p:pic>
      <p:sp>
        <p:nvSpPr>
          <p:cNvPr id="12" name="Oval 11">
            <a:extLst>
              <a:ext uri="{FF2B5EF4-FFF2-40B4-BE49-F238E27FC236}">
                <a16:creationId xmlns:a16="http://schemas.microsoft.com/office/drawing/2014/main" id="{9E4226B8-15C4-4B84-9F41-8D090381458C}"/>
              </a:ext>
            </a:extLst>
          </p:cNvPr>
          <p:cNvSpPr/>
          <p:nvPr userDrawn="1"/>
        </p:nvSpPr>
        <p:spPr bwMode="auto">
          <a:xfrm>
            <a:off x="3346806" y="5473242"/>
            <a:ext cx="4323994" cy="4323994"/>
          </a:xfrm>
          <a:prstGeom prst="ellipse">
            <a:avLst/>
          </a:prstGeom>
          <a:noFill/>
          <a:ln w="384175">
            <a:solidFill>
              <a:srgbClr val="30E5D0"/>
            </a:solidFill>
            <a:headEnd type="none" w="med" len="med"/>
            <a:tailEnd type="none" w="med" len="med"/>
          </a:ln>
          <a:effectLst>
            <a:outerShdw blurRad="571500" dist="63500" dir="2400000" sx="101000" sy="101000" algn="tl" rotWithShape="0">
              <a:prstClr val="black">
                <a:alpha val="21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grpSp>
        <p:nvGrpSpPr>
          <p:cNvPr id="21" name="Group 20">
            <a:extLst>
              <a:ext uri="{FF2B5EF4-FFF2-40B4-BE49-F238E27FC236}">
                <a16:creationId xmlns:a16="http://schemas.microsoft.com/office/drawing/2014/main" id="{3DE60D45-CBF6-40DE-972D-2F565806DB28}"/>
              </a:ext>
              <a:ext uri="{C183D7F6-B498-43B3-948B-1728B52AA6E4}">
                <adec:decorative xmlns:adec="http://schemas.microsoft.com/office/drawing/2017/decorative" val="1"/>
              </a:ext>
            </a:extLst>
          </p:cNvPr>
          <p:cNvGrpSpPr/>
          <p:nvPr userDrawn="1"/>
        </p:nvGrpSpPr>
        <p:grpSpPr>
          <a:xfrm>
            <a:off x="4353128" y="303900"/>
            <a:ext cx="2018242" cy="2018242"/>
            <a:chOff x="2275764" y="3933567"/>
            <a:chExt cx="3803604" cy="3803604"/>
          </a:xfrm>
        </p:grpSpPr>
        <p:pic>
          <p:nvPicPr>
            <p:cNvPr id="22" name="Picture 21">
              <a:extLst>
                <a:ext uri="{FF2B5EF4-FFF2-40B4-BE49-F238E27FC236}">
                  <a16:creationId xmlns:a16="http://schemas.microsoft.com/office/drawing/2014/main" id="{6DB06810-1416-4321-905C-F2FCEF9A49D7}"/>
                </a:ext>
              </a:extLst>
            </p:cNvPr>
            <p:cNvPicPr>
              <a:picLocks noChangeAspect="1"/>
            </p:cNvPicPr>
            <p:nvPr/>
          </p:nvPicPr>
          <p:blipFill rotWithShape="1">
            <a:blip r:embed="rId3" cstate="hqprint">
              <a:extLst>
                <a:ext uri="{28A0092B-C50C-407E-A947-70E740481C1C}">
                  <a14:useLocalDpi xmlns:a14="http://schemas.microsoft.com/office/drawing/2010/main" val="0"/>
                </a:ext>
              </a:extLst>
            </a:blip>
            <a:srcRect l="25196" r="8120"/>
            <a:stretch/>
          </p:blipFill>
          <p:spPr>
            <a:xfrm flipH="1">
              <a:off x="2275764" y="3933567"/>
              <a:ext cx="3803604" cy="3803604"/>
            </a:xfrm>
            <a:prstGeom prst="ellipse">
              <a:avLst/>
            </a:prstGeom>
            <a:solidFill>
              <a:schemeClr val="bg1"/>
            </a:solidFill>
            <a:ln>
              <a:noFill/>
              <a:headEnd type="none" w="med" len="med"/>
              <a:tailEnd type="none" w="med" len="med"/>
            </a:ln>
            <a:effectLst>
              <a:outerShdw blurRad="190500" algn="ctr" rotWithShape="0">
                <a:prstClr val="black">
                  <a:alpha val="10000"/>
                </a:prstClr>
              </a:outerShdw>
            </a:effectLst>
          </p:spPr>
        </p:pic>
        <p:sp>
          <p:nvSpPr>
            <p:cNvPr id="23" name="Oval 22">
              <a:extLst>
                <a:ext uri="{FF2B5EF4-FFF2-40B4-BE49-F238E27FC236}">
                  <a16:creationId xmlns:a16="http://schemas.microsoft.com/office/drawing/2014/main" id="{FD7A5B7C-458C-4F7F-8B4F-48FE70C37D6B}"/>
                </a:ext>
              </a:extLst>
            </p:cNvPr>
            <p:cNvSpPr>
              <a:spLocks noChangeAspect="1"/>
            </p:cNvSpPr>
            <p:nvPr/>
          </p:nvSpPr>
          <p:spPr bwMode="auto">
            <a:xfrm>
              <a:off x="2320015" y="3987521"/>
              <a:ext cx="3695696" cy="3695696"/>
            </a:xfrm>
            <a:prstGeom prst="ellipse">
              <a:avLst/>
            </a:prstGeom>
            <a:noFill/>
            <a:ln w="1778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grpSp>
      <p:pic>
        <p:nvPicPr>
          <p:cNvPr id="24" name="Picture 23">
            <a:extLst>
              <a:ext uri="{FF2B5EF4-FFF2-40B4-BE49-F238E27FC236}">
                <a16:creationId xmlns:a16="http://schemas.microsoft.com/office/drawing/2014/main" id="{E72236F0-F8FC-4980-835B-EB07ED11906E}"/>
              </a:ext>
              <a:ext uri="{C183D7F6-B498-43B3-948B-1728B52AA6E4}">
                <adec:decorative xmlns:adec="http://schemas.microsoft.com/office/drawing/2017/decorative" val="1"/>
              </a:ext>
            </a:extLst>
          </p:cNvPr>
          <p:cNvPicPr>
            <a:picLocks noChangeAspect="1"/>
          </p:cNvPicPr>
          <p:nvPr userDrawn="1"/>
        </p:nvPicPr>
        <p:blipFill>
          <a:blip r:embed="rId4" cstate="hqprint">
            <a:extLst>
              <a:ext uri="{28A0092B-C50C-407E-A947-70E740481C1C}">
                <a14:useLocalDpi xmlns:a14="http://schemas.microsoft.com/office/drawing/2010/main" val="0"/>
              </a:ext>
            </a:extLst>
          </a:blip>
          <a:srcRect l="16626" r="16626"/>
          <a:stretch/>
        </p:blipFill>
        <p:spPr>
          <a:xfrm>
            <a:off x="7702580" y="1147846"/>
            <a:ext cx="4264133" cy="4264133"/>
          </a:xfrm>
          <a:prstGeom prst="ellipse">
            <a:avLst/>
          </a:prstGeom>
          <a:effectLst>
            <a:outerShdw blurRad="482600" dist="127000" dir="2700000" sx="101000" sy="101000" algn="ctr" rotWithShape="0">
              <a:prstClr val="black">
                <a:alpha val="29000"/>
              </a:prstClr>
            </a:outerShdw>
          </a:effectLst>
        </p:spPr>
      </p:pic>
      <p:sp>
        <p:nvSpPr>
          <p:cNvPr id="9" name="Title 1"/>
          <p:cNvSpPr>
            <a:spLocks noGrp="1"/>
          </p:cNvSpPr>
          <p:nvPr>
            <p:ph type="title" hasCustomPrompt="1"/>
          </p:nvPr>
        </p:nvSpPr>
        <p:spPr>
          <a:xfrm>
            <a:off x="584199" y="2425780"/>
            <a:ext cx="6194287" cy="1107996"/>
          </a:xfrm>
          <a:noFill/>
        </p:spPr>
        <p:txBody>
          <a:bodyPr wrap="square" lIns="0" tIns="0" rIns="0" bIns="0" anchor="b" anchorCtr="0">
            <a:spAutoFit/>
          </a:bodyPr>
          <a:lstStyle>
            <a:lvl1pPr>
              <a:defRPr sz="3600" spc="-50" baseline="0">
                <a:solidFill>
                  <a:srgbClr val="000000"/>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298440" cy="246221"/>
          </a:xfrm>
          <a:noFill/>
        </p:spPr>
        <p:txBody>
          <a:bodyPr wrap="square" lIns="0" tIns="0" rIns="0" bIns="0">
            <a:spAutoFit/>
          </a:bodyPr>
          <a:lstStyle>
            <a:lvl1pPr marL="0" indent="0">
              <a:spcBef>
                <a:spcPts val="0"/>
              </a:spcBef>
              <a:buNone/>
              <a:defRPr sz="1600" spc="0" baseline="0">
                <a:solidFill>
                  <a:srgbClr val="000000"/>
                </a:solidFill>
                <a:latin typeface="+mn-lt"/>
                <a:cs typeface="Segoe UI" panose="020B0502040204020203" pitchFamily="34" charset="0"/>
              </a:defRPr>
            </a:lvl1pPr>
          </a:lstStyle>
          <a:p>
            <a:pPr lvl="0"/>
            <a:r>
              <a:rPr lang="en-US"/>
              <a:t>Speaker name or subtitle text</a:t>
            </a:r>
          </a:p>
        </p:txBody>
      </p:sp>
      <p:pic>
        <p:nvPicPr>
          <p:cNvPr id="2" name="MS logo gray - EMF" descr="Microsoft logo, gray text version">
            <a:extLst>
              <a:ext uri="{FF2B5EF4-FFF2-40B4-BE49-F238E27FC236}">
                <a16:creationId xmlns:a16="http://schemas.microsoft.com/office/drawing/2014/main" id="{048BF6F0-39E7-41BE-852C-3E0F3448DE6D}"/>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293946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7_Title Slide 2">
    <p:bg>
      <p:bgPr>
        <a:solidFill>
          <a:schemeClr val="bg1">
            <a:lumMod val="95000"/>
          </a:schemeClr>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199" y="2425780"/>
            <a:ext cx="6194287" cy="1107996"/>
          </a:xfrm>
          <a:noFill/>
        </p:spPr>
        <p:txBody>
          <a:bodyPr wrap="square" lIns="0" tIns="0" rIns="0" bIns="0" anchor="b" anchorCtr="0">
            <a:spAutoFit/>
          </a:bodyPr>
          <a:lstStyle>
            <a:lvl1pPr>
              <a:defRPr sz="3600" spc="-50" baseline="0">
                <a:solidFill>
                  <a:srgbClr val="000000"/>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298440" cy="246221"/>
          </a:xfrm>
          <a:noFill/>
        </p:spPr>
        <p:txBody>
          <a:bodyPr wrap="square" lIns="0" tIns="0" rIns="0" bIns="0">
            <a:spAutoFit/>
          </a:bodyPr>
          <a:lstStyle>
            <a:lvl1pPr marL="0" indent="0">
              <a:spcBef>
                <a:spcPts val="0"/>
              </a:spcBef>
              <a:buNone/>
              <a:defRPr sz="1600" spc="0" baseline="0">
                <a:solidFill>
                  <a:srgbClr val="000000"/>
                </a:solidFill>
                <a:latin typeface="+mn-lt"/>
                <a:cs typeface="Segoe UI" panose="020B0502040204020203" pitchFamily="34" charset="0"/>
              </a:defRPr>
            </a:lvl1pPr>
          </a:lstStyle>
          <a:p>
            <a:pPr lvl="0"/>
            <a:r>
              <a:rPr lang="en-US"/>
              <a:t>Speaker name or subtitle text</a:t>
            </a:r>
          </a:p>
        </p:txBody>
      </p:sp>
      <p:pic>
        <p:nvPicPr>
          <p:cNvPr id="6" name="Graphic 5" descr="Microsoft 365 logo">
            <a:extLst>
              <a:ext uri="{FF2B5EF4-FFF2-40B4-BE49-F238E27FC236}">
                <a16:creationId xmlns:a16="http://schemas.microsoft.com/office/drawing/2014/main" id="{A1EC0980-DE5C-48B2-8CAF-573B5C4B249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84200" y="585788"/>
            <a:ext cx="1812544" cy="292608"/>
          </a:xfrm>
          <a:prstGeom prst="rect">
            <a:avLst/>
          </a:prstGeom>
        </p:spPr>
      </p:pic>
      <p:sp>
        <p:nvSpPr>
          <p:cNvPr id="7" name="TextBox 6">
            <a:extLst>
              <a:ext uri="{FF2B5EF4-FFF2-40B4-BE49-F238E27FC236}">
                <a16:creationId xmlns:a16="http://schemas.microsoft.com/office/drawing/2014/main" id="{0030B113-1642-44F7-8579-BF86F20200EE}"/>
              </a:ext>
            </a:extLst>
          </p:cNvPr>
          <p:cNvSpPr txBox="1"/>
          <p:nvPr userDrawn="1"/>
        </p:nvSpPr>
        <p:spPr>
          <a:xfrm>
            <a:off x="584200" y="6024632"/>
            <a:ext cx="2278743" cy="307777"/>
          </a:xfrm>
          <a:prstGeom prst="rect">
            <a:avLst/>
          </a:prstGeom>
          <a:noFill/>
        </p:spPr>
        <p:txBody>
          <a:bodyPr wrap="square" lIns="0" tIns="0" rIns="0" bIns="0" rtlCol="0">
            <a:spAutoFit/>
          </a:bodyPr>
          <a:lstStyle/>
          <a:p>
            <a:pPr algn="l"/>
            <a:r>
              <a:rPr lang="en-US" sz="2000">
                <a:solidFill>
                  <a:schemeClr val="accent1"/>
                </a:solidFill>
                <a:latin typeface="+mj-lt"/>
              </a:rPr>
              <a:t>Microsoft Viva</a:t>
            </a:r>
          </a:p>
        </p:txBody>
      </p:sp>
    </p:spTree>
    <p:extLst>
      <p:ext uri="{BB962C8B-B14F-4D97-AF65-F5344CB8AC3E}">
        <p14:creationId xmlns:p14="http://schemas.microsoft.com/office/powerpoint/2010/main" val="839599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Title Slide">
    <p:bg>
      <p:bgRef idx="1001">
        <a:schemeClr val="bg1"/>
      </p:bgRef>
    </p:bg>
    <p:spTree>
      <p:nvGrpSpPr>
        <p:cNvPr id="1" name=""/>
        <p:cNvGrpSpPr/>
        <p:nvPr/>
      </p:nvGrpSpPr>
      <p:grpSpPr>
        <a:xfrm>
          <a:off x="0" y="0"/>
          <a:ext cx="0" cy="0"/>
          <a:chOff x="0" y="0"/>
          <a:chExt cx="0" cy="0"/>
        </a:xfrm>
      </p:grpSpPr>
      <p:pic>
        <p:nvPicPr>
          <p:cNvPr id="7" name="Graphic 6" descr="Viva graphic">
            <a:extLst>
              <a:ext uri="{FF2B5EF4-FFF2-40B4-BE49-F238E27FC236}">
                <a16:creationId xmlns:a16="http://schemas.microsoft.com/office/drawing/2014/main" id="{4C53A5FD-C403-4051-925A-F4D56D287158}"/>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41877" r="60238" b="14390"/>
          <a:stretch/>
        </p:blipFill>
        <p:spPr bwMode="ltGray">
          <a:xfrm>
            <a:off x="4643972" y="-1"/>
            <a:ext cx="7548028" cy="6858001"/>
          </a:xfrm>
          <a:prstGeom prst="rect">
            <a:avLst/>
          </a:prstGeom>
        </p:spPr>
      </p:pic>
      <p:pic>
        <p:nvPicPr>
          <p:cNvPr id="11" name="Picture 10" descr="Man on laptop">
            <a:extLst>
              <a:ext uri="{FF2B5EF4-FFF2-40B4-BE49-F238E27FC236}">
                <a16:creationId xmlns:a16="http://schemas.microsoft.com/office/drawing/2014/main" id="{5A4B84B7-FFD3-4C71-B395-7C3B6A3FEBA3}"/>
              </a:ext>
            </a:extLst>
          </p:cNvPr>
          <p:cNvPicPr>
            <a:picLocks noChangeAspect="1"/>
          </p:cNvPicPr>
          <p:nvPr userDrawn="1"/>
        </p:nvPicPr>
        <p:blipFill rotWithShape="1">
          <a:blip r:embed="rId4"/>
          <a:srcRect t="-17" b="-1"/>
          <a:stretch/>
        </p:blipFill>
        <p:spPr bwMode="ltGray">
          <a:xfrm>
            <a:off x="5917246" y="585788"/>
            <a:ext cx="5692140" cy="5685472"/>
          </a:xfrm>
          <a:prstGeom prst="rect">
            <a:avLst/>
          </a:prstGeom>
          <a:effectLst>
            <a:innerShdw blurRad="444500">
              <a:prstClr val="black">
                <a:alpha val="10000"/>
              </a:prstClr>
            </a:innerShdw>
          </a:effectLst>
        </p:spPr>
      </p:pic>
      <p:sp>
        <p:nvSpPr>
          <p:cNvPr id="13" name="TextBox 12">
            <a:extLst>
              <a:ext uri="{FF2B5EF4-FFF2-40B4-BE49-F238E27FC236}">
                <a16:creationId xmlns:a16="http://schemas.microsoft.com/office/drawing/2014/main" id="{CAE5E9D0-EE57-4642-B5A6-8BFF47E66921}"/>
              </a:ext>
            </a:extLst>
          </p:cNvPr>
          <p:cNvSpPr txBox="1"/>
          <p:nvPr userDrawn="1"/>
        </p:nvSpPr>
        <p:spPr>
          <a:xfrm>
            <a:off x="584200" y="6024632"/>
            <a:ext cx="2278743" cy="307777"/>
          </a:xfrm>
          <a:prstGeom prst="rect">
            <a:avLst/>
          </a:prstGeom>
          <a:noFill/>
        </p:spPr>
        <p:txBody>
          <a:bodyPr wrap="square" lIns="0" tIns="0" rIns="0" bIns="0" rtlCol="0">
            <a:spAutoFit/>
          </a:bodyPr>
          <a:lstStyle/>
          <a:p>
            <a:pPr algn="l"/>
            <a:r>
              <a:rPr lang="en-US" sz="2000">
                <a:solidFill>
                  <a:schemeClr val="accent1"/>
                </a:solidFill>
                <a:latin typeface="+mj-lt"/>
              </a:rPr>
              <a:t>Microsoft Viva</a:t>
            </a:r>
          </a:p>
        </p:txBody>
      </p:sp>
      <p:pic>
        <p:nvPicPr>
          <p:cNvPr id="14" name="Graphic 13" descr="Microsoft 365 logo">
            <a:extLst>
              <a:ext uri="{FF2B5EF4-FFF2-40B4-BE49-F238E27FC236}">
                <a16:creationId xmlns:a16="http://schemas.microsoft.com/office/drawing/2014/main" id="{BDAD4DAA-0B3C-4CC7-9D2E-4C3D32AFCD9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84200" y="585788"/>
            <a:ext cx="1812544" cy="292608"/>
          </a:xfrm>
          <a:prstGeom prst="rect">
            <a:avLst/>
          </a:prstGeom>
        </p:spPr>
      </p:pic>
      <p:sp>
        <p:nvSpPr>
          <p:cNvPr id="9" name="Title 1"/>
          <p:cNvSpPr>
            <a:spLocks noGrp="1"/>
          </p:cNvSpPr>
          <p:nvPr>
            <p:ph type="title" hasCustomPrompt="1"/>
          </p:nvPr>
        </p:nvSpPr>
        <p:spPr>
          <a:xfrm>
            <a:off x="584201" y="2425780"/>
            <a:ext cx="4169664"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1" y="3962400"/>
            <a:ext cx="416966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1738053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2999">
          <p15:clr>
            <a:srgbClr val="5ACBF0"/>
          </p15:clr>
        </p15:guide>
        <p15:guide id="4" orient="horz" pos="216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6_Title Slide 2">
    <p:bg>
      <p:bgPr>
        <a:solidFill>
          <a:srgbClr val="F2F2F2"/>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01F40EA7-5FF4-4D68-AE47-AE6D6A48D9DE}"/>
              </a:ext>
              <a:ext uri="{C183D7F6-B498-43B3-948B-1728B52AA6E4}">
                <adec:decorative xmlns:adec="http://schemas.microsoft.com/office/drawing/2017/decorative" val="1"/>
              </a:ext>
            </a:extLst>
          </p:cNvPr>
          <p:cNvPicPr>
            <a:picLocks noChangeAspect="1"/>
          </p:cNvPicPr>
          <p:nvPr userDrawn="1"/>
        </p:nvPicPr>
        <p:blipFill rotWithShape="1">
          <a:blip r:embed="rId2"/>
          <a:srcRect l="1" t="2900" r="19131" b="10469"/>
          <a:stretch/>
        </p:blipFill>
        <p:spPr>
          <a:xfrm>
            <a:off x="-2667752" y="-3473996"/>
            <a:ext cx="9026630" cy="8664513"/>
          </a:xfrm>
          <a:prstGeom prst="rect">
            <a:avLst/>
          </a:prstGeom>
        </p:spPr>
      </p:pic>
      <p:sp>
        <p:nvSpPr>
          <p:cNvPr id="12" name="Oval 11">
            <a:extLst>
              <a:ext uri="{FF2B5EF4-FFF2-40B4-BE49-F238E27FC236}">
                <a16:creationId xmlns:a16="http://schemas.microsoft.com/office/drawing/2014/main" id="{0F8C5EBF-AE0F-49A1-A989-80FE841EFB92}"/>
              </a:ext>
              <a:ext uri="{C183D7F6-B498-43B3-948B-1728B52AA6E4}">
                <adec:decorative xmlns:adec="http://schemas.microsoft.com/office/drawing/2017/decorative" val="1"/>
              </a:ext>
            </a:extLst>
          </p:cNvPr>
          <p:cNvSpPr/>
          <p:nvPr userDrawn="1"/>
        </p:nvSpPr>
        <p:spPr bwMode="auto">
          <a:xfrm>
            <a:off x="3287369" y="5281502"/>
            <a:ext cx="2169690" cy="2169690"/>
          </a:xfrm>
          <a:prstGeom prst="ellipse">
            <a:avLst/>
          </a:prstGeom>
          <a:noFill/>
          <a:ln w="228600">
            <a:solidFill>
              <a:srgbClr val="30E5D0"/>
            </a:solidFill>
            <a:headEnd type="none" w="med" len="med"/>
            <a:tailEnd type="none" w="med" len="med"/>
          </a:ln>
          <a:effectLst>
            <a:outerShdw blurRad="571500" dist="63500" dir="2400000" sx="101000" sy="101000" algn="tl" rotWithShape="0">
              <a:prstClr val="black">
                <a:alpha val="21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7" name="TextBox 6">
            <a:extLst>
              <a:ext uri="{FF2B5EF4-FFF2-40B4-BE49-F238E27FC236}">
                <a16:creationId xmlns:a16="http://schemas.microsoft.com/office/drawing/2014/main" id="{0030B113-1642-44F7-8579-BF86F20200EE}"/>
              </a:ext>
            </a:extLst>
          </p:cNvPr>
          <p:cNvSpPr txBox="1"/>
          <p:nvPr userDrawn="1"/>
        </p:nvSpPr>
        <p:spPr>
          <a:xfrm>
            <a:off x="584200" y="6024632"/>
            <a:ext cx="2278743" cy="307777"/>
          </a:xfrm>
          <a:prstGeom prst="rect">
            <a:avLst/>
          </a:prstGeom>
          <a:noFill/>
        </p:spPr>
        <p:txBody>
          <a:bodyPr wrap="square" lIns="0" tIns="0" rIns="0" bIns="0" rtlCol="0">
            <a:spAutoFit/>
          </a:bodyPr>
          <a:lstStyle/>
          <a:p>
            <a:pPr algn="l"/>
            <a:r>
              <a:rPr lang="en-US" sz="2000">
                <a:solidFill>
                  <a:schemeClr val="accent1"/>
                </a:solidFill>
                <a:latin typeface="+mj-lt"/>
              </a:rPr>
              <a:t>Microsoft Viva</a:t>
            </a:r>
          </a:p>
        </p:txBody>
      </p:sp>
    </p:spTree>
    <p:extLst>
      <p:ext uri="{BB962C8B-B14F-4D97-AF65-F5344CB8AC3E}">
        <p14:creationId xmlns:p14="http://schemas.microsoft.com/office/powerpoint/2010/main" val="1859922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Closing logo slide ">
    <p:bg>
      <p:bgPr>
        <a:solidFill>
          <a:schemeClr val="accent5"/>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4" name="Graphic 3" descr="Microsoft 365 logo">
            <a:extLst>
              <a:ext uri="{FF2B5EF4-FFF2-40B4-BE49-F238E27FC236}">
                <a16:creationId xmlns:a16="http://schemas.microsoft.com/office/drawing/2014/main" id="{8AD49639-0ECC-4B3F-8375-A2CCCAB26F1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584200" y="585788"/>
            <a:ext cx="1812544" cy="292608"/>
          </a:xfrm>
          <a:prstGeom prst="rect">
            <a:avLst/>
          </a:prstGeom>
        </p:spPr>
      </p:pic>
    </p:spTree>
    <p:extLst>
      <p:ext uri="{BB962C8B-B14F-4D97-AF65-F5344CB8AC3E}">
        <p14:creationId xmlns:p14="http://schemas.microsoft.com/office/powerpoint/2010/main" val="30017610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Cover Slide">
    <p:bg>
      <p:bgPr>
        <a:solidFill>
          <a:schemeClr val="bg1">
            <a:lumMod val="95000"/>
          </a:schemeClr>
        </a:solidFill>
        <a:effectLst/>
      </p:bgPr>
    </p:bg>
    <p:spTree>
      <p:nvGrpSpPr>
        <p:cNvPr id="1" name=""/>
        <p:cNvGrpSpPr/>
        <p:nvPr/>
      </p:nvGrpSpPr>
      <p:grpSpPr>
        <a:xfrm>
          <a:off x="0" y="0"/>
          <a:ext cx="0" cy="0"/>
          <a:chOff x="0" y="0"/>
          <a:chExt cx="0" cy="0"/>
        </a:xfrm>
      </p:grpSpPr>
      <p:sp>
        <p:nvSpPr>
          <p:cNvPr id="62" name="Freeform: Shape 61">
            <a:extLst>
              <a:ext uri="{FF2B5EF4-FFF2-40B4-BE49-F238E27FC236}">
                <a16:creationId xmlns:a16="http://schemas.microsoft.com/office/drawing/2014/main" id="{397ACD58-998B-4474-A3CF-1E08C7DFE426}"/>
              </a:ext>
            </a:extLst>
          </p:cNvPr>
          <p:cNvSpPr/>
          <p:nvPr/>
        </p:nvSpPr>
        <p:spPr bwMode="auto">
          <a:xfrm rot="2433989">
            <a:off x="9834940" y="1143329"/>
            <a:ext cx="2503089" cy="6323724"/>
          </a:xfrm>
          <a:custGeom>
            <a:avLst/>
            <a:gdLst>
              <a:gd name="connsiteX0" fmla="*/ 0 w 2503089"/>
              <a:gd name="connsiteY0" fmla="*/ 0 h 6323724"/>
              <a:gd name="connsiteX1" fmla="*/ 2503089 w 2503089"/>
              <a:gd name="connsiteY1" fmla="*/ 2923863 h 6323724"/>
              <a:gd name="connsiteX2" fmla="*/ 2503089 w 2503089"/>
              <a:gd name="connsiteY2" fmla="*/ 5072180 h 6323724"/>
              <a:gd name="connsiteX3" fmla="*/ 2446822 w 2503089"/>
              <a:gd name="connsiteY3" fmla="*/ 5444350 h 6323724"/>
              <a:gd name="connsiteX4" fmla="*/ 2417641 w 2503089"/>
              <a:gd name="connsiteY4" fmla="*/ 5524078 h 6323724"/>
              <a:gd name="connsiteX5" fmla="*/ 1517352 w 2503089"/>
              <a:gd name="connsiteY5" fmla="*/ 6294805 h 6323724"/>
              <a:gd name="connsiteX6" fmla="*/ 1503774 w 2503089"/>
              <a:gd name="connsiteY6" fmla="*/ 6298296 h 6323724"/>
              <a:gd name="connsiteX7" fmla="*/ 1251544 w 2503089"/>
              <a:gd name="connsiteY7" fmla="*/ 6323724 h 6323724"/>
              <a:gd name="connsiteX8" fmla="*/ 0 w 2503089"/>
              <a:gd name="connsiteY8" fmla="*/ 5072179 h 6323724"/>
              <a:gd name="connsiteX9" fmla="*/ 0 w 2503089"/>
              <a:gd name="connsiteY9" fmla="*/ 0 h 6323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03089" h="6323724">
                <a:moveTo>
                  <a:pt x="0" y="0"/>
                </a:moveTo>
                <a:lnTo>
                  <a:pt x="2503089" y="2923863"/>
                </a:lnTo>
                <a:lnTo>
                  <a:pt x="2503089" y="5072180"/>
                </a:lnTo>
                <a:cubicBezTo>
                  <a:pt x="2503089" y="5201781"/>
                  <a:pt x="2483390" y="5326781"/>
                  <a:pt x="2446822" y="5444350"/>
                </a:cubicBezTo>
                <a:lnTo>
                  <a:pt x="2417641" y="5524078"/>
                </a:lnTo>
                <a:lnTo>
                  <a:pt x="1517352" y="6294805"/>
                </a:lnTo>
                <a:lnTo>
                  <a:pt x="1503774" y="6298296"/>
                </a:lnTo>
                <a:cubicBezTo>
                  <a:pt x="1422301" y="6314968"/>
                  <a:pt x="1337945" y="6323724"/>
                  <a:pt x="1251544" y="6323724"/>
                </a:cubicBezTo>
                <a:cubicBezTo>
                  <a:pt x="560335" y="6323724"/>
                  <a:pt x="0" y="5763389"/>
                  <a:pt x="0" y="5072179"/>
                </a:cubicBezTo>
                <a:lnTo>
                  <a:pt x="0" y="0"/>
                </a:lnTo>
                <a:close/>
              </a:path>
            </a:pathLst>
          </a:custGeom>
          <a:solidFill>
            <a:schemeClr val="accent5"/>
          </a:solidFill>
          <a:ln>
            <a:noFill/>
            <a:headEnd type="none" w="med" len="med"/>
            <a:tailEnd type="none" w="med" len="med"/>
          </a:ln>
          <a:effectLst>
            <a:outerShdw blurRad="50800" dist="25400" dir="2700000" algn="tl" rotWithShape="0">
              <a:prstClr val="black">
                <a:alpha val="14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indent="-285750" algn="l">
              <a:lnSpc>
                <a:spcPct val="107000"/>
              </a:lnSpc>
              <a:spcBef>
                <a:spcPts val="0"/>
              </a:spcBef>
              <a:spcAft>
                <a:spcPts val="800"/>
              </a:spcAft>
              <a:buFont typeface="Arial" panose="020B0604020202020204" pitchFamily="34" charset="0"/>
              <a:buChar char="•"/>
            </a:pPr>
            <a:endParaRPr lang="en-US" sz="180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
        <p:nvSpPr>
          <p:cNvPr id="48" name="Freeform: Shape 47">
            <a:extLst>
              <a:ext uri="{FF2B5EF4-FFF2-40B4-BE49-F238E27FC236}">
                <a16:creationId xmlns:a16="http://schemas.microsoft.com/office/drawing/2014/main" id="{309826C3-6538-4DDD-ADCE-DF60FA3D0D25}"/>
              </a:ext>
            </a:extLst>
          </p:cNvPr>
          <p:cNvSpPr/>
          <p:nvPr/>
        </p:nvSpPr>
        <p:spPr bwMode="auto">
          <a:xfrm rot="8101561">
            <a:off x="7302996" y="1422986"/>
            <a:ext cx="2562694" cy="6102892"/>
          </a:xfrm>
          <a:custGeom>
            <a:avLst/>
            <a:gdLst>
              <a:gd name="connsiteX0" fmla="*/ 375297 w 2562694"/>
              <a:gd name="connsiteY0" fmla="*/ 5727594 h 6102892"/>
              <a:gd name="connsiteX1" fmla="*/ 0 w 2562694"/>
              <a:gd name="connsiteY1" fmla="*/ 4821545 h 6102892"/>
              <a:gd name="connsiteX2" fmla="*/ 0 w 2562694"/>
              <a:gd name="connsiteY2" fmla="*/ 1281347 h 6102892"/>
              <a:gd name="connsiteX3" fmla="*/ 1281347 w 2562694"/>
              <a:gd name="connsiteY3" fmla="*/ 0 h 6102892"/>
              <a:gd name="connsiteX4" fmla="*/ 1539584 w 2562694"/>
              <a:gd name="connsiteY4" fmla="*/ 26032 h 6102892"/>
              <a:gd name="connsiteX5" fmla="*/ 1655396 w 2562694"/>
              <a:gd name="connsiteY5" fmla="*/ 55811 h 6102892"/>
              <a:gd name="connsiteX6" fmla="*/ 2506616 w 2562694"/>
              <a:gd name="connsiteY6" fmla="*/ 906258 h 6102892"/>
              <a:gd name="connsiteX7" fmla="*/ 2536661 w 2562694"/>
              <a:gd name="connsiteY7" fmla="*/ 1023111 h 6102892"/>
              <a:gd name="connsiteX8" fmla="*/ 2562694 w 2562694"/>
              <a:gd name="connsiteY8" fmla="*/ 1281347 h 6102892"/>
              <a:gd name="connsiteX9" fmla="*/ 2562694 w 2562694"/>
              <a:gd name="connsiteY9" fmla="*/ 4821545 h 6102892"/>
              <a:gd name="connsiteX10" fmla="*/ 1281347 w 2562694"/>
              <a:gd name="connsiteY10" fmla="*/ 6102892 h 6102892"/>
              <a:gd name="connsiteX11" fmla="*/ 375297 w 2562694"/>
              <a:gd name="connsiteY11" fmla="*/ 5727594 h 6102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62694" h="6102892">
                <a:moveTo>
                  <a:pt x="375297" y="5727594"/>
                </a:moveTo>
                <a:cubicBezTo>
                  <a:pt x="143419" y="5495716"/>
                  <a:pt x="0" y="5175379"/>
                  <a:pt x="0" y="4821545"/>
                </a:cubicBezTo>
                <a:lnTo>
                  <a:pt x="0" y="1281347"/>
                </a:lnTo>
                <a:cubicBezTo>
                  <a:pt x="0" y="573678"/>
                  <a:pt x="573679" y="0"/>
                  <a:pt x="1281347" y="0"/>
                </a:cubicBezTo>
                <a:cubicBezTo>
                  <a:pt x="1369806" y="0"/>
                  <a:pt x="1456170" y="8963"/>
                  <a:pt x="1539584" y="26032"/>
                </a:cubicBezTo>
                <a:lnTo>
                  <a:pt x="1655396" y="55811"/>
                </a:lnTo>
                <a:lnTo>
                  <a:pt x="2506616" y="906258"/>
                </a:lnTo>
                <a:lnTo>
                  <a:pt x="2536661" y="1023111"/>
                </a:lnTo>
                <a:cubicBezTo>
                  <a:pt x="2553730" y="1106523"/>
                  <a:pt x="2562694" y="1192889"/>
                  <a:pt x="2562694" y="1281347"/>
                </a:cubicBezTo>
                <a:lnTo>
                  <a:pt x="2562694" y="4821545"/>
                </a:lnTo>
                <a:cubicBezTo>
                  <a:pt x="2562694" y="5529212"/>
                  <a:pt x="1989015" y="6102892"/>
                  <a:pt x="1281347" y="6102892"/>
                </a:cubicBezTo>
                <a:cubicBezTo>
                  <a:pt x="927513" y="6102892"/>
                  <a:pt x="607176" y="5959472"/>
                  <a:pt x="375297" y="5727594"/>
                </a:cubicBezTo>
                <a:close/>
              </a:path>
            </a:pathLst>
          </a:custGeom>
          <a:solidFill>
            <a:schemeClr val="accent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indent="-285750" algn="l">
              <a:lnSpc>
                <a:spcPct val="107000"/>
              </a:lnSpc>
              <a:spcBef>
                <a:spcPts val="0"/>
              </a:spcBef>
              <a:spcAft>
                <a:spcPts val="800"/>
              </a:spcAft>
              <a:buFont typeface="Arial" panose="020B0604020202020204" pitchFamily="34" charset="0"/>
              <a:buChar char="•"/>
            </a:pPr>
            <a:endParaRPr lang="en-US" sz="180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pic>
        <p:nvPicPr>
          <p:cNvPr id="4" name="Picture 3" descr="A person working on a computer&#10;&#10;Description automatically generated with low confidence">
            <a:extLst>
              <a:ext uri="{FF2B5EF4-FFF2-40B4-BE49-F238E27FC236}">
                <a16:creationId xmlns:a16="http://schemas.microsoft.com/office/drawing/2014/main" id="{FBF25ED7-DB8E-418D-A1E6-D41777310B2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080125" y="1963864"/>
            <a:ext cx="2491518" cy="2491518"/>
          </a:xfrm>
          <a:custGeom>
            <a:avLst/>
            <a:gdLst>
              <a:gd name="connsiteX0" fmla="*/ 1336357 w 2672714"/>
              <a:gd name="connsiteY0" fmla="*/ 0 h 2672714"/>
              <a:gd name="connsiteX1" fmla="*/ 2672714 w 2672714"/>
              <a:gd name="connsiteY1" fmla="*/ 1336357 h 2672714"/>
              <a:gd name="connsiteX2" fmla="*/ 1336357 w 2672714"/>
              <a:gd name="connsiteY2" fmla="*/ 2672714 h 2672714"/>
              <a:gd name="connsiteX3" fmla="*/ 0 w 2672714"/>
              <a:gd name="connsiteY3" fmla="*/ 1336357 h 2672714"/>
              <a:gd name="connsiteX4" fmla="*/ 1336357 w 2672714"/>
              <a:gd name="connsiteY4" fmla="*/ 0 h 26727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2714" h="2672714">
                <a:moveTo>
                  <a:pt x="1336357" y="0"/>
                </a:moveTo>
                <a:cubicBezTo>
                  <a:pt x="2074407" y="0"/>
                  <a:pt x="2672714" y="598307"/>
                  <a:pt x="2672714" y="1336357"/>
                </a:cubicBezTo>
                <a:cubicBezTo>
                  <a:pt x="2672714" y="2074407"/>
                  <a:pt x="2074407" y="2672714"/>
                  <a:pt x="1336357" y="2672714"/>
                </a:cubicBezTo>
                <a:cubicBezTo>
                  <a:pt x="598307" y="2672714"/>
                  <a:pt x="0" y="2074407"/>
                  <a:pt x="0" y="1336357"/>
                </a:cubicBezTo>
                <a:cubicBezTo>
                  <a:pt x="0" y="598307"/>
                  <a:pt x="598307" y="0"/>
                  <a:pt x="1336357" y="0"/>
                </a:cubicBezTo>
                <a:close/>
              </a:path>
            </a:pathLst>
          </a:custGeom>
          <a:ln w="34925">
            <a:solidFill>
              <a:schemeClr val="bg1"/>
            </a:solidFill>
          </a:ln>
        </p:spPr>
      </p:pic>
      <p:pic>
        <p:nvPicPr>
          <p:cNvPr id="5" name="Picture 4" descr="Portrait example 3">
            <a:extLst>
              <a:ext uri="{FF2B5EF4-FFF2-40B4-BE49-F238E27FC236}">
                <a16:creationId xmlns:a16="http://schemas.microsoft.com/office/drawing/2014/main" id="{253D0536-44CC-4FD3-8A9F-9E107AA394C6}"/>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8619394" y="4503007"/>
            <a:ext cx="2491518" cy="2383568"/>
          </a:xfrm>
          <a:custGeom>
            <a:avLst/>
            <a:gdLst>
              <a:gd name="connsiteX0" fmla="*/ 1245759 w 2491518"/>
              <a:gd name="connsiteY0" fmla="*/ 0 h 2383568"/>
              <a:gd name="connsiteX1" fmla="*/ 2491518 w 2491518"/>
              <a:gd name="connsiteY1" fmla="*/ 1245759 h 2383568"/>
              <a:gd name="connsiteX2" fmla="*/ 1839562 w 2491518"/>
              <a:gd name="connsiteY2" fmla="*/ 2341162 h 2383568"/>
              <a:gd name="connsiteX3" fmla="*/ 1751532 w 2491518"/>
              <a:gd name="connsiteY3" fmla="*/ 2383568 h 2383568"/>
              <a:gd name="connsiteX4" fmla="*/ 739986 w 2491518"/>
              <a:gd name="connsiteY4" fmla="*/ 2383568 h 2383568"/>
              <a:gd name="connsiteX5" fmla="*/ 651956 w 2491518"/>
              <a:gd name="connsiteY5" fmla="*/ 2341162 h 2383568"/>
              <a:gd name="connsiteX6" fmla="*/ 0 w 2491518"/>
              <a:gd name="connsiteY6" fmla="*/ 1245759 h 2383568"/>
              <a:gd name="connsiteX7" fmla="*/ 1245759 w 2491518"/>
              <a:gd name="connsiteY7" fmla="*/ 0 h 2383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91518" h="2383568">
                <a:moveTo>
                  <a:pt x="1245759" y="0"/>
                </a:moveTo>
                <a:cubicBezTo>
                  <a:pt x="1933773" y="0"/>
                  <a:pt x="2491518" y="557745"/>
                  <a:pt x="2491518" y="1245759"/>
                </a:cubicBezTo>
                <a:cubicBezTo>
                  <a:pt x="2491518" y="1718769"/>
                  <a:pt x="2227896" y="2130206"/>
                  <a:pt x="1839562" y="2341162"/>
                </a:cubicBezTo>
                <a:lnTo>
                  <a:pt x="1751532" y="2383568"/>
                </a:lnTo>
                <a:lnTo>
                  <a:pt x="739986" y="2383568"/>
                </a:lnTo>
                <a:lnTo>
                  <a:pt x="651956" y="2341162"/>
                </a:lnTo>
                <a:cubicBezTo>
                  <a:pt x="263622" y="2130206"/>
                  <a:pt x="0" y="1718769"/>
                  <a:pt x="0" y="1245759"/>
                </a:cubicBezTo>
                <a:cubicBezTo>
                  <a:pt x="0" y="557745"/>
                  <a:pt x="557745" y="0"/>
                  <a:pt x="1245759" y="0"/>
                </a:cubicBezTo>
                <a:close/>
              </a:path>
            </a:pathLst>
          </a:custGeom>
          <a:ln w="34925">
            <a:solidFill>
              <a:schemeClr val="bg1"/>
            </a:solidFill>
          </a:ln>
        </p:spPr>
      </p:pic>
      <p:pic>
        <p:nvPicPr>
          <p:cNvPr id="9" name="Graphic 8">
            <a:extLst>
              <a:ext uri="{FF2B5EF4-FFF2-40B4-BE49-F238E27FC236}">
                <a16:creationId xmlns:a16="http://schemas.microsoft.com/office/drawing/2014/main" id="{16C0A104-EDD8-4966-8EE0-240F76971806}"/>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19101" y="419787"/>
            <a:ext cx="1454150" cy="310607"/>
          </a:xfrm>
          <a:prstGeom prst="rect">
            <a:avLst/>
          </a:prstGeom>
        </p:spPr>
      </p:pic>
      <p:sp>
        <p:nvSpPr>
          <p:cNvPr id="12" name="Text Placeholder 11">
            <a:extLst>
              <a:ext uri="{FF2B5EF4-FFF2-40B4-BE49-F238E27FC236}">
                <a16:creationId xmlns:a16="http://schemas.microsoft.com/office/drawing/2014/main" id="{E5C536ED-748B-4B48-9E16-A887711BDA7D}"/>
              </a:ext>
            </a:extLst>
          </p:cNvPr>
          <p:cNvSpPr>
            <a:spLocks noGrp="1"/>
          </p:cNvSpPr>
          <p:nvPr>
            <p:ph type="body" sz="quarter" idx="10" hasCustomPrompt="1"/>
          </p:nvPr>
        </p:nvSpPr>
        <p:spPr>
          <a:xfrm>
            <a:off x="396875" y="2792889"/>
            <a:ext cx="5343525" cy="1272222"/>
          </a:xfrm>
        </p:spPr>
        <p:txBody>
          <a:bodyPr anchor="ctr"/>
          <a:lstStyle>
            <a:lvl1pPr>
              <a:lnSpc>
                <a:spcPct val="90000"/>
              </a:lnSpc>
              <a:defRPr sz="4000">
                <a:latin typeface="+mj-lt"/>
              </a:defRPr>
            </a:lvl1pPr>
          </a:lstStyle>
          <a:p>
            <a:pPr lvl="0"/>
            <a:r>
              <a:rPr lang="en-US"/>
              <a:t>Main Title Goes Here</a:t>
            </a:r>
          </a:p>
          <a:p>
            <a:pPr lvl="0"/>
            <a:r>
              <a:rPr lang="en-US"/>
              <a:t>(2 lines)</a:t>
            </a:r>
          </a:p>
        </p:txBody>
      </p:sp>
      <p:sp>
        <p:nvSpPr>
          <p:cNvPr id="13" name="Text Placeholder 11">
            <a:extLst>
              <a:ext uri="{FF2B5EF4-FFF2-40B4-BE49-F238E27FC236}">
                <a16:creationId xmlns:a16="http://schemas.microsoft.com/office/drawing/2014/main" id="{11BCB759-A878-40A5-9C1B-E00D55659998}"/>
              </a:ext>
            </a:extLst>
          </p:cNvPr>
          <p:cNvSpPr>
            <a:spLocks noGrp="1"/>
          </p:cNvSpPr>
          <p:nvPr>
            <p:ph type="body" sz="quarter" idx="11" hasCustomPrompt="1"/>
          </p:nvPr>
        </p:nvSpPr>
        <p:spPr>
          <a:xfrm>
            <a:off x="396875" y="2311241"/>
            <a:ext cx="5343525" cy="332105"/>
          </a:xfrm>
        </p:spPr>
        <p:txBody>
          <a:bodyPr anchor="b"/>
          <a:lstStyle>
            <a:lvl1pPr marL="0" algn="l" defTabSz="914367" rtl="0" eaLnBrk="1" latinLnBrk="0" hangingPunct="1">
              <a:lnSpc>
                <a:spcPct val="100000"/>
              </a:lnSpc>
              <a:spcBef>
                <a:spcPct val="0"/>
              </a:spcBef>
              <a:buNone/>
              <a:defRPr lang="en-US" sz="2400" b="0" kern="1200" cap="none" spc="0" baseline="0" dirty="0">
                <a:ln w="3175">
                  <a:noFill/>
                </a:ln>
                <a:solidFill>
                  <a:srgbClr val="107C10"/>
                </a:solidFill>
                <a:effectLst/>
                <a:latin typeface="+mn-lt"/>
                <a:ea typeface="+mn-ea"/>
                <a:cs typeface="Segoe UI" pitchFamily="34" charset="0"/>
              </a:defRPr>
            </a:lvl1pPr>
          </a:lstStyle>
          <a:p>
            <a:pPr lvl="0"/>
            <a:r>
              <a:rPr lang="en-US"/>
              <a:t>Event name</a:t>
            </a:r>
          </a:p>
        </p:txBody>
      </p:sp>
      <p:sp>
        <p:nvSpPr>
          <p:cNvPr id="14" name="Text Placeholder 11">
            <a:extLst>
              <a:ext uri="{FF2B5EF4-FFF2-40B4-BE49-F238E27FC236}">
                <a16:creationId xmlns:a16="http://schemas.microsoft.com/office/drawing/2014/main" id="{FD709F41-BABE-45CE-AC15-71AC5A7FE0CA}"/>
              </a:ext>
            </a:extLst>
          </p:cNvPr>
          <p:cNvSpPr>
            <a:spLocks noGrp="1"/>
          </p:cNvSpPr>
          <p:nvPr>
            <p:ph type="body" sz="quarter" idx="12" hasCustomPrompt="1"/>
          </p:nvPr>
        </p:nvSpPr>
        <p:spPr>
          <a:xfrm>
            <a:off x="396875" y="4138454"/>
            <a:ext cx="5343525" cy="289430"/>
          </a:xfrm>
        </p:spPr>
        <p:txBody>
          <a:bodyPr anchor="t"/>
          <a:lstStyle>
            <a:lvl1pPr marL="0" algn="l" defTabSz="914367" rtl="0" eaLnBrk="1" latinLnBrk="0" hangingPunct="1">
              <a:lnSpc>
                <a:spcPct val="100000"/>
              </a:lnSpc>
              <a:spcBef>
                <a:spcPct val="0"/>
              </a:spcBef>
              <a:buNone/>
              <a:defRPr lang="en-US" sz="1400" b="0" kern="1200" cap="none" spc="0" baseline="0" dirty="0">
                <a:ln w="3175">
                  <a:noFill/>
                </a:ln>
                <a:solidFill>
                  <a:schemeClr val="tx1"/>
                </a:solidFill>
                <a:effectLst/>
                <a:latin typeface="+mn-lt"/>
                <a:ea typeface="+mn-ea"/>
                <a:cs typeface="Segoe UI" pitchFamily="34" charset="0"/>
              </a:defRPr>
            </a:lvl1pPr>
          </a:lstStyle>
          <a:p>
            <a:r>
              <a:rPr lang="en-US"/>
              <a:t>Speaker/Date</a:t>
            </a:r>
          </a:p>
        </p:txBody>
      </p:sp>
      <p:sp>
        <p:nvSpPr>
          <p:cNvPr id="52" name="Freeform: Shape 51">
            <a:extLst>
              <a:ext uri="{FF2B5EF4-FFF2-40B4-BE49-F238E27FC236}">
                <a16:creationId xmlns:a16="http://schemas.microsoft.com/office/drawing/2014/main" id="{555E3BC6-2B29-498D-8FA3-2BDF0A6C7BCE}"/>
              </a:ext>
            </a:extLst>
          </p:cNvPr>
          <p:cNvSpPr/>
          <p:nvPr/>
        </p:nvSpPr>
        <p:spPr bwMode="auto">
          <a:xfrm>
            <a:off x="7840781" y="1"/>
            <a:ext cx="2535119" cy="1935317"/>
          </a:xfrm>
          <a:custGeom>
            <a:avLst/>
            <a:gdLst>
              <a:gd name="connsiteX0" fmla="*/ 190064 w 2535119"/>
              <a:gd name="connsiteY0" fmla="*/ 0 h 1935317"/>
              <a:gd name="connsiteX1" fmla="*/ 565645 w 2535119"/>
              <a:gd name="connsiteY1" fmla="*/ 0 h 1935317"/>
              <a:gd name="connsiteX2" fmla="*/ 463885 w 2535119"/>
              <a:gd name="connsiteY2" fmla="*/ 123496 h 1935317"/>
              <a:gd name="connsiteX3" fmla="*/ 298361 w 2535119"/>
              <a:gd name="connsiteY3" fmla="*/ 666095 h 1935317"/>
              <a:gd name="connsiteX4" fmla="*/ 1267559 w 2535119"/>
              <a:gd name="connsiteY4" fmla="*/ 1636565 h 1935317"/>
              <a:gd name="connsiteX5" fmla="*/ 2236759 w 2535119"/>
              <a:gd name="connsiteY5" fmla="*/ 666095 h 1935317"/>
              <a:gd name="connsiteX6" fmla="*/ 2071235 w 2535119"/>
              <a:gd name="connsiteY6" fmla="*/ 123496 h 1935317"/>
              <a:gd name="connsiteX7" fmla="*/ 1969475 w 2535119"/>
              <a:gd name="connsiteY7" fmla="*/ 0 h 1935317"/>
              <a:gd name="connsiteX8" fmla="*/ 2345056 w 2535119"/>
              <a:gd name="connsiteY8" fmla="*/ 0 h 1935317"/>
              <a:gd name="connsiteX9" fmla="*/ 2382131 w 2535119"/>
              <a:gd name="connsiteY9" fmla="*/ 61109 h 1935317"/>
              <a:gd name="connsiteX10" fmla="*/ 2535119 w 2535119"/>
              <a:gd name="connsiteY10" fmla="*/ 666095 h 1935317"/>
              <a:gd name="connsiteX11" fmla="*/ 1267559 w 2535119"/>
              <a:gd name="connsiteY11" fmla="*/ 1935317 h 1935317"/>
              <a:gd name="connsiteX12" fmla="*/ 0 w 2535119"/>
              <a:gd name="connsiteY12" fmla="*/ 666095 h 1935317"/>
              <a:gd name="connsiteX13" fmla="*/ 152988 w 2535119"/>
              <a:gd name="connsiteY13" fmla="*/ 61109 h 1935317"/>
              <a:gd name="connsiteX14" fmla="*/ 190064 w 2535119"/>
              <a:gd name="connsiteY14" fmla="*/ 0 h 1935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535119" h="1935317">
                <a:moveTo>
                  <a:pt x="190064" y="0"/>
                </a:moveTo>
                <a:lnTo>
                  <a:pt x="565645" y="0"/>
                </a:lnTo>
                <a:lnTo>
                  <a:pt x="463885" y="123496"/>
                </a:lnTo>
                <a:cubicBezTo>
                  <a:pt x="359382" y="278384"/>
                  <a:pt x="298361" y="465104"/>
                  <a:pt x="298361" y="666095"/>
                </a:cubicBezTo>
                <a:cubicBezTo>
                  <a:pt x="298361" y="1202070"/>
                  <a:pt x="732286" y="1636565"/>
                  <a:pt x="1267559" y="1636565"/>
                </a:cubicBezTo>
                <a:cubicBezTo>
                  <a:pt x="1802833" y="1636565"/>
                  <a:pt x="2236759" y="1202070"/>
                  <a:pt x="2236759" y="666095"/>
                </a:cubicBezTo>
                <a:cubicBezTo>
                  <a:pt x="2236759" y="465104"/>
                  <a:pt x="2175738" y="278384"/>
                  <a:pt x="2071235" y="123496"/>
                </a:cubicBezTo>
                <a:lnTo>
                  <a:pt x="1969475" y="0"/>
                </a:lnTo>
                <a:lnTo>
                  <a:pt x="2345056" y="0"/>
                </a:lnTo>
                <a:lnTo>
                  <a:pt x="2382131" y="61109"/>
                </a:lnTo>
                <a:cubicBezTo>
                  <a:pt x="2479698" y="240949"/>
                  <a:pt x="2535119" y="447042"/>
                  <a:pt x="2535119" y="666095"/>
                </a:cubicBezTo>
                <a:cubicBezTo>
                  <a:pt x="2535119" y="1367066"/>
                  <a:pt x="1967613" y="1935317"/>
                  <a:pt x="1267559" y="1935317"/>
                </a:cubicBezTo>
                <a:cubicBezTo>
                  <a:pt x="567507" y="1935317"/>
                  <a:pt x="0" y="1367066"/>
                  <a:pt x="0" y="666095"/>
                </a:cubicBezTo>
                <a:cubicBezTo>
                  <a:pt x="0" y="447042"/>
                  <a:pt x="55421" y="240949"/>
                  <a:pt x="152988" y="61109"/>
                </a:cubicBezTo>
                <a:lnTo>
                  <a:pt x="190064" y="0"/>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nSpc>
                <a:spcPct val="107000"/>
              </a:lnSpc>
              <a:spcBef>
                <a:spcPts val="0"/>
              </a:spcBef>
              <a:spcAft>
                <a:spcPts val="800"/>
              </a:spcAft>
              <a:buFont typeface="Arial" panose="020B0604020202020204" pitchFamily="34" charset="0"/>
              <a:buChar char="•"/>
            </a:pPr>
            <a:endParaRPr lang="en-US"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232656117"/>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Cover Slide 2">
    <p:bg>
      <p:bgPr>
        <a:solidFill>
          <a:schemeClr val="bg1">
            <a:lumMod val="95000"/>
          </a:schemeClr>
        </a:solidFill>
        <a:effectLst/>
      </p:bgPr>
    </p:bg>
    <p:spTree>
      <p:nvGrpSpPr>
        <p:cNvPr id="1" name=""/>
        <p:cNvGrpSpPr/>
        <p:nvPr/>
      </p:nvGrpSpPr>
      <p:grpSpPr>
        <a:xfrm>
          <a:off x="0" y="0"/>
          <a:ext cx="0" cy="0"/>
          <a:chOff x="0" y="0"/>
          <a:chExt cx="0" cy="0"/>
        </a:xfrm>
      </p:grpSpPr>
      <p:pic>
        <p:nvPicPr>
          <p:cNvPr id="19" name="Picture 18" descr="A person sitting on a desk with a computer&#10;&#10;Description automatically generated with low confidence">
            <a:extLst>
              <a:ext uri="{FF2B5EF4-FFF2-40B4-BE49-F238E27FC236}">
                <a16:creationId xmlns:a16="http://schemas.microsoft.com/office/drawing/2014/main" id="{96FF44D0-5539-4AB2-AF7A-082085DBE22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custGeom>
            <a:avLst/>
            <a:gdLst>
              <a:gd name="connsiteX0" fmla="*/ 0 w 3733400"/>
              <a:gd name="connsiteY0" fmla="*/ 0 h 5362200"/>
              <a:gd name="connsiteX1" fmla="*/ 3733400 w 3733400"/>
              <a:gd name="connsiteY1" fmla="*/ 0 h 5362200"/>
              <a:gd name="connsiteX2" fmla="*/ 3733400 w 3733400"/>
              <a:gd name="connsiteY2" fmla="*/ 5362200 h 5362200"/>
              <a:gd name="connsiteX3" fmla="*/ 0 w 3733400"/>
              <a:gd name="connsiteY3" fmla="*/ 5362200 h 5362200"/>
            </a:gdLst>
            <a:ahLst/>
            <a:cxnLst>
              <a:cxn ang="0">
                <a:pos x="connsiteX0" y="connsiteY0"/>
              </a:cxn>
              <a:cxn ang="0">
                <a:pos x="connsiteX1" y="connsiteY1"/>
              </a:cxn>
              <a:cxn ang="0">
                <a:pos x="connsiteX2" y="connsiteY2"/>
              </a:cxn>
              <a:cxn ang="0">
                <a:pos x="connsiteX3" y="connsiteY3"/>
              </a:cxn>
            </a:cxnLst>
            <a:rect l="l" t="t" r="r" b="b"/>
            <a:pathLst>
              <a:path w="3733400" h="5362200">
                <a:moveTo>
                  <a:pt x="0" y="0"/>
                </a:moveTo>
                <a:lnTo>
                  <a:pt x="3733400" y="0"/>
                </a:lnTo>
                <a:lnTo>
                  <a:pt x="3733400" y="5362200"/>
                </a:lnTo>
                <a:lnTo>
                  <a:pt x="0" y="5362200"/>
                </a:lnTo>
                <a:close/>
              </a:path>
            </a:pathLst>
          </a:custGeom>
        </p:spPr>
      </p:pic>
      <p:sp>
        <p:nvSpPr>
          <p:cNvPr id="20" name="Rectangle 19">
            <a:extLst>
              <a:ext uri="{FF2B5EF4-FFF2-40B4-BE49-F238E27FC236}">
                <a16:creationId xmlns:a16="http://schemas.microsoft.com/office/drawing/2014/main" id="{D9B30809-9FE6-4628-A853-3C44D1FE59CA}"/>
              </a:ext>
            </a:extLst>
          </p:cNvPr>
          <p:cNvSpPr/>
          <p:nvPr/>
        </p:nvSpPr>
        <p:spPr bwMode="auto">
          <a:xfrm>
            <a:off x="0" y="0"/>
            <a:ext cx="12192000" cy="6858000"/>
          </a:xfrm>
          <a:prstGeom prst="rect">
            <a:avLst/>
          </a:prstGeom>
          <a:gradFill flip="none" rotWithShape="1">
            <a:gsLst>
              <a:gs pos="28000">
                <a:schemeClr val="tx1">
                  <a:alpha val="89000"/>
                </a:schemeClr>
              </a:gs>
              <a:gs pos="72000">
                <a:schemeClr val="tx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indent="-285750" algn="l">
              <a:lnSpc>
                <a:spcPct val="107000"/>
              </a:lnSpc>
              <a:spcBef>
                <a:spcPts val="0"/>
              </a:spcBef>
              <a:spcAft>
                <a:spcPts val="800"/>
              </a:spcAft>
              <a:buFont typeface="Arial" panose="020B0604020202020204" pitchFamily="34" charset="0"/>
              <a:buChar char="•"/>
            </a:pPr>
            <a:endParaRPr lang="en-US" sz="180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
        <p:nvSpPr>
          <p:cNvPr id="44" name="Freeform: Shape 43">
            <a:extLst>
              <a:ext uri="{FF2B5EF4-FFF2-40B4-BE49-F238E27FC236}">
                <a16:creationId xmlns:a16="http://schemas.microsoft.com/office/drawing/2014/main" id="{86880C33-808B-4D42-B8E4-D470F5C3AD9F}"/>
              </a:ext>
            </a:extLst>
          </p:cNvPr>
          <p:cNvSpPr/>
          <p:nvPr/>
        </p:nvSpPr>
        <p:spPr bwMode="auto">
          <a:xfrm>
            <a:off x="7391400" y="-1"/>
            <a:ext cx="2389974" cy="1670221"/>
          </a:xfrm>
          <a:custGeom>
            <a:avLst/>
            <a:gdLst>
              <a:gd name="connsiteX0" fmla="*/ 84836 w 2052810"/>
              <a:gd name="connsiteY0" fmla="*/ 0 h 1434596"/>
              <a:gd name="connsiteX1" fmla="*/ 359020 w 2052810"/>
              <a:gd name="connsiteY1" fmla="*/ 0 h 1434596"/>
              <a:gd name="connsiteX2" fmla="*/ 303271 w 2052810"/>
              <a:gd name="connsiteY2" fmla="*/ 102709 h 1434596"/>
              <a:gd name="connsiteX3" fmla="*/ 241597 w 2052810"/>
              <a:gd name="connsiteY3" fmla="*/ 408191 h 1434596"/>
              <a:gd name="connsiteX4" fmla="*/ 1026405 w 2052810"/>
              <a:gd name="connsiteY4" fmla="*/ 1192999 h 1434596"/>
              <a:gd name="connsiteX5" fmla="*/ 1811213 w 2052810"/>
              <a:gd name="connsiteY5" fmla="*/ 408191 h 1434596"/>
              <a:gd name="connsiteX6" fmla="*/ 1749539 w 2052810"/>
              <a:gd name="connsiteY6" fmla="*/ 102709 h 1434596"/>
              <a:gd name="connsiteX7" fmla="*/ 1693790 w 2052810"/>
              <a:gd name="connsiteY7" fmla="*/ 0 h 1434596"/>
              <a:gd name="connsiteX8" fmla="*/ 1967974 w 2052810"/>
              <a:gd name="connsiteY8" fmla="*/ 0 h 1434596"/>
              <a:gd name="connsiteX9" fmla="*/ 1972150 w 2052810"/>
              <a:gd name="connsiteY9" fmla="*/ 8668 h 1434596"/>
              <a:gd name="connsiteX10" fmla="*/ 2052810 w 2052810"/>
              <a:gd name="connsiteY10" fmla="*/ 408191 h 1434596"/>
              <a:gd name="connsiteX11" fmla="*/ 1026405 w 2052810"/>
              <a:gd name="connsiteY11" fmla="*/ 1434596 h 1434596"/>
              <a:gd name="connsiteX12" fmla="*/ 0 w 2052810"/>
              <a:gd name="connsiteY12" fmla="*/ 408191 h 1434596"/>
              <a:gd name="connsiteX13" fmla="*/ 80660 w 2052810"/>
              <a:gd name="connsiteY13" fmla="*/ 8668 h 1434596"/>
              <a:gd name="connsiteX14" fmla="*/ 84836 w 2052810"/>
              <a:gd name="connsiteY14" fmla="*/ 0 h 1434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52810" h="1434596">
                <a:moveTo>
                  <a:pt x="84836" y="0"/>
                </a:moveTo>
                <a:lnTo>
                  <a:pt x="359020" y="0"/>
                </a:lnTo>
                <a:lnTo>
                  <a:pt x="303271" y="102709"/>
                </a:lnTo>
                <a:cubicBezTo>
                  <a:pt x="263558" y="196602"/>
                  <a:pt x="241597" y="299832"/>
                  <a:pt x="241597" y="408191"/>
                </a:cubicBezTo>
                <a:cubicBezTo>
                  <a:pt x="241597" y="841628"/>
                  <a:pt x="592968" y="1192999"/>
                  <a:pt x="1026405" y="1192999"/>
                </a:cubicBezTo>
                <a:cubicBezTo>
                  <a:pt x="1459842" y="1192999"/>
                  <a:pt x="1811213" y="841628"/>
                  <a:pt x="1811213" y="408191"/>
                </a:cubicBezTo>
                <a:cubicBezTo>
                  <a:pt x="1811213" y="299832"/>
                  <a:pt x="1789252" y="196602"/>
                  <a:pt x="1749539" y="102709"/>
                </a:cubicBezTo>
                <a:lnTo>
                  <a:pt x="1693790" y="0"/>
                </a:lnTo>
                <a:lnTo>
                  <a:pt x="1967974" y="0"/>
                </a:lnTo>
                <a:lnTo>
                  <a:pt x="1972150" y="8668"/>
                </a:lnTo>
                <a:cubicBezTo>
                  <a:pt x="2024089" y="131466"/>
                  <a:pt x="2052810" y="266474"/>
                  <a:pt x="2052810" y="408191"/>
                </a:cubicBezTo>
                <a:cubicBezTo>
                  <a:pt x="2052810" y="975058"/>
                  <a:pt x="1593272" y="1434596"/>
                  <a:pt x="1026405" y="1434596"/>
                </a:cubicBezTo>
                <a:cubicBezTo>
                  <a:pt x="459538" y="1434596"/>
                  <a:pt x="0" y="975058"/>
                  <a:pt x="0" y="408191"/>
                </a:cubicBezTo>
                <a:cubicBezTo>
                  <a:pt x="0" y="266474"/>
                  <a:pt x="28721" y="131466"/>
                  <a:pt x="80660" y="8668"/>
                </a:cubicBezTo>
                <a:lnTo>
                  <a:pt x="84836" y="0"/>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algn="l">
              <a:lnSpc>
                <a:spcPct val="107000"/>
              </a:lnSpc>
              <a:spcBef>
                <a:spcPts val="0"/>
              </a:spcBef>
              <a:spcAft>
                <a:spcPts val="800"/>
              </a:spcAft>
            </a:pPr>
            <a:endParaRPr lang="en-US" sz="180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
        <p:nvSpPr>
          <p:cNvPr id="40" name="Freeform: Shape 39">
            <a:extLst>
              <a:ext uri="{FF2B5EF4-FFF2-40B4-BE49-F238E27FC236}">
                <a16:creationId xmlns:a16="http://schemas.microsoft.com/office/drawing/2014/main" id="{7F399665-C621-4038-97FC-8845E6892AEA}"/>
              </a:ext>
            </a:extLst>
          </p:cNvPr>
          <p:cNvSpPr/>
          <p:nvPr/>
        </p:nvSpPr>
        <p:spPr bwMode="auto">
          <a:xfrm rot="2433989">
            <a:off x="9570581" y="1290319"/>
            <a:ext cx="2408993" cy="7171501"/>
          </a:xfrm>
          <a:custGeom>
            <a:avLst/>
            <a:gdLst>
              <a:gd name="connsiteX0" fmla="*/ 1 w 2408993"/>
              <a:gd name="connsiteY0" fmla="*/ 0 h 7171501"/>
              <a:gd name="connsiteX1" fmla="*/ 2408993 w 2408993"/>
              <a:gd name="connsiteY1" fmla="*/ 2813950 h 7171501"/>
              <a:gd name="connsiteX2" fmla="*/ 2408993 w 2408993"/>
              <a:gd name="connsiteY2" fmla="*/ 5163592 h 7171501"/>
              <a:gd name="connsiteX3" fmla="*/ 63551 w 2408993"/>
              <a:gd name="connsiteY3" fmla="*/ 7171501 h 7171501"/>
              <a:gd name="connsiteX4" fmla="*/ 54153 w 2408993"/>
              <a:gd name="connsiteY4" fmla="*/ 7145821 h 7171501"/>
              <a:gd name="connsiteX5" fmla="*/ 0 w 2408993"/>
              <a:gd name="connsiteY5" fmla="*/ 6787640 h 7171501"/>
              <a:gd name="connsiteX6" fmla="*/ 1 w 2408993"/>
              <a:gd name="connsiteY6" fmla="*/ 0 h 7171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08993" h="7171501">
                <a:moveTo>
                  <a:pt x="1" y="0"/>
                </a:moveTo>
                <a:lnTo>
                  <a:pt x="2408993" y="2813950"/>
                </a:lnTo>
                <a:lnTo>
                  <a:pt x="2408993" y="5163592"/>
                </a:lnTo>
                <a:lnTo>
                  <a:pt x="63551" y="7171501"/>
                </a:lnTo>
                <a:lnTo>
                  <a:pt x="54153" y="7145821"/>
                </a:lnTo>
                <a:cubicBezTo>
                  <a:pt x="18960" y="7032672"/>
                  <a:pt x="0" y="6912370"/>
                  <a:pt x="0" y="6787640"/>
                </a:cubicBezTo>
                <a:lnTo>
                  <a:pt x="1" y="0"/>
                </a:lnTo>
                <a:close/>
              </a:path>
            </a:pathLst>
          </a:custGeom>
          <a:solidFill>
            <a:schemeClr val="accent5"/>
          </a:solidFill>
          <a:ln>
            <a:noFill/>
            <a:headEnd type="none" w="med" len="med"/>
            <a:tailEnd type="none" w="med" len="med"/>
          </a:ln>
          <a:effectLst>
            <a:outerShdw blurRad="50800" dist="25400" dir="2700000" algn="tl" rotWithShape="0">
              <a:prstClr val="black">
                <a:alpha val="14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indent="-285750" algn="l">
              <a:lnSpc>
                <a:spcPct val="107000"/>
              </a:lnSpc>
              <a:spcBef>
                <a:spcPts val="0"/>
              </a:spcBef>
              <a:spcAft>
                <a:spcPts val="800"/>
              </a:spcAft>
              <a:buFont typeface="Arial" panose="020B0604020202020204" pitchFamily="34" charset="0"/>
              <a:buChar char="•"/>
            </a:pPr>
            <a:endParaRPr lang="en-US" sz="180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
        <p:nvSpPr>
          <p:cNvPr id="33" name="Freeform: Shape 32">
            <a:extLst>
              <a:ext uri="{FF2B5EF4-FFF2-40B4-BE49-F238E27FC236}">
                <a16:creationId xmlns:a16="http://schemas.microsoft.com/office/drawing/2014/main" id="{2EA50923-0D5A-455F-8FE0-7A4BBE4F3639}"/>
              </a:ext>
            </a:extLst>
          </p:cNvPr>
          <p:cNvSpPr/>
          <p:nvPr/>
        </p:nvSpPr>
        <p:spPr bwMode="auto">
          <a:xfrm rot="8101561">
            <a:off x="6030956" y="3293494"/>
            <a:ext cx="2408993" cy="5096712"/>
          </a:xfrm>
          <a:custGeom>
            <a:avLst/>
            <a:gdLst>
              <a:gd name="connsiteX0" fmla="*/ 352788 w 2408993"/>
              <a:gd name="connsiteY0" fmla="*/ 4743921 h 5096712"/>
              <a:gd name="connsiteX1" fmla="*/ 0 w 2408993"/>
              <a:gd name="connsiteY1" fmla="*/ 3892214 h 5096712"/>
              <a:gd name="connsiteX2" fmla="*/ 0 w 2408993"/>
              <a:gd name="connsiteY2" fmla="*/ 460305 h 5096712"/>
              <a:gd name="connsiteX3" fmla="*/ 54152 w 2408993"/>
              <a:gd name="connsiteY3" fmla="*/ 102125 h 5096712"/>
              <a:gd name="connsiteX4" fmla="*/ 91530 w 2408993"/>
              <a:gd name="connsiteY4" fmla="*/ 0 h 5096712"/>
              <a:gd name="connsiteX5" fmla="*/ 2408993 w 2408993"/>
              <a:gd name="connsiteY5" fmla="*/ 2315360 h 5096712"/>
              <a:gd name="connsiteX6" fmla="*/ 2408993 w 2408993"/>
              <a:gd name="connsiteY6" fmla="*/ 3892214 h 5096712"/>
              <a:gd name="connsiteX7" fmla="*/ 1204496 w 2408993"/>
              <a:gd name="connsiteY7" fmla="*/ 5096712 h 5096712"/>
              <a:gd name="connsiteX8" fmla="*/ 1204497 w 2408993"/>
              <a:gd name="connsiteY8" fmla="*/ 5096711 h 5096712"/>
              <a:gd name="connsiteX9" fmla="*/ 352788 w 2408993"/>
              <a:gd name="connsiteY9" fmla="*/ 4743921 h 5096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08993" h="5096712">
                <a:moveTo>
                  <a:pt x="352788" y="4743921"/>
                </a:moveTo>
                <a:cubicBezTo>
                  <a:pt x="134818" y="4525951"/>
                  <a:pt x="0" y="4224826"/>
                  <a:pt x="0" y="3892214"/>
                </a:cubicBezTo>
                <a:lnTo>
                  <a:pt x="0" y="460305"/>
                </a:lnTo>
                <a:cubicBezTo>
                  <a:pt x="0" y="335575"/>
                  <a:pt x="18958" y="215273"/>
                  <a:pt x="54152" y="102125"/>
                </a:cubicBezTo>
                <a:lnTo>
                  <a:pt x="91530" y="0"/>
                </a:lnTo>
                <a:lnTo>
                  <a:pt x="2408993" y="2315360"/>
                </a:lnTo>
                <a:lnTo>
                  <a:pt x="2408993" y="3892214"/>
                </a:lnTo>
                <a:cubicBezTo>
                  <a:pt x="2408993" y="4557440"/>
                  <a:pt x="1869721" y="5096711"/>
                  <a:pt x="1204496" y="5096712"/>
                </a:cubicBezTo>
                <a:lnTo>
                  <a:pt x="1204497" y="5096711"/>
                </a:lnTo>
                <a:cubicBezTo>
                  <a:pt x="871884" y="5096711"/>
                  <a:pt x="570760" y="4961893"/>
                  <a:pt x="352788" y="4743921"/>
                </a:cubicBezTo>
                <a:close/>
              </a:path>
            </a:pathLst>
          </a:custGeom>
          <a:solidFill>
            <a:schemeClr val="accent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indent="-285750" algn="l">
              <a:lnSpc>
                <a:spcPct val="107000"/>
              </a:lnSpc>
              <a:spcBef>
                <a:spcPts val="0"/>
              </a:spcBef>
              <a:spcAft>
                <a:spcPts val="800"/>
              </a:spcAft>
              <a:buFont typeface="Arial" panose="020B0604020202020204" pitchFamily="34" charset="0"/>
              <a:buChar char="•"/>
            </a:pPr>
            <a:endParaRPr lang="en-US" sz="180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
        <p:nvSpPr>
          <p:cNvPr id="29" name="Freeform: Shape 28">
            <a:extLst>
              <a:ext uri="{FF2B5EF4-FFF2-40B4-BE49-F238E27FC236}">
                <a16:creationId xmlns:a16="http://schemas.microsoft.com/office/drawing/2014/main" id="{6DAE4FE0-9860-4C52-9741-6868BB4E388F}"/>
              </a:ext>
            </a:extLst>
          </p:cNvPr>
          <p:cNvSpPr/>
          <p:nvPr/>
        </p:nvSpPr>
        <p:spPr bwMode="auto">
          <a:xfrm>
            <a:off x="7540073" y="6058016"/>
            <a:ext cx="2311822" cy="799985"/>
          </a:xfrm>
          <a:custGeom>
            <a:avLst/>
            <a:gdLst>
              <a:gd name="connsiteX0" fmla="*/ 1155911 w 2311822"/>
              <a:gd name="connsiteY0" fmla="*/ 0 h 799985"/>
              <a:gd name="connsiteX1" fmla="*/ 2295491 w 2311822"/>
              <a:gd name="connsiteY1" fmla="*/ 755365 h 799985"/>
              <a:gd name="connsiteX2" fmla="*/ 2311822 w 2311822"/>
              <a:gd name="connsiteY2" fmla="*/ 799985 h 799985"/>
              <a:gd name="connsiteX3" fmla="*/ 0 w 2311822"/>
              <a:gd name="connsiteY3" fmla="*/ 799985 h 799985"/>
              <a:gd name="connsiteX4" fmla="*/ 16331 w 2311822"/>
              <a:gd name="connsiteY4" fmla="*/ 755365 h 799985"/>
              <a:gd name="connsiteX5" fmla="*/ 1155911 w 2311822"/>
              <a:gd name="connsiteY5" fmla="*/ 0 h 799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11822" h="799985">
                <a:moveTo>
                  <a:pt x="1155911" y="0"/>
                </a:moveTo>
                <a:cubicBezTo>
                  <a:pt x="1668199" y="0"/>
                  <a:pt x="2107739" y="311469"/>
                  <a:pt x="2295491" y="755365"/>
                </a:cubicBezTo>
                <a:lnTo>
                  <a:pt x="2311822" y="799985"/>
                </a:lnTo>
                <a:lnTo>
                  <a:pt x="0" y="799985"/>
                </a:lnTo>
                <a:lnTo>
                  <a:pt x="16331" y="755365"/>
                </a:lnTo>
                <a:cubicBezTo>
                  <a:pt x="204083" y="311469"/>
                  <a:pt x="643624" y="0"/>
                  <a:pt x="1155911" y="0"/>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indent="-285750" algn="l">
              <a:lnSpc>
                <a:spcPct val="107000"/>
              </a:lnSpc>
              <a:spcBef>
                <a:spcPts val="0"/>
              </a:spcBef>
              <a:spcAft>
                <a:spcPts val="800"/>
              </a:spcAft>
              <a:buFont typeface="Arial" panose="020B0604020202020204" pitchFamily="34" charset="0"/>
              <a:buChar char="•"/>
            </a:pPr>
            <a:endParaRPr lang="en-US" sz="180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
        <p:nvSpPr>
          <p:cNvPr id="12" name="Text Placeholder 11">
            <a:extLst>
              <a:ext uri="{FF2B5EF4-FFF2-40B4-BE49-F238E27FC236}">
                <a16:creationId xmlns:a16="http://schemas.microsoft.com/office/drawing/2014/main" id="{E5C536ED-748B-4B48-9E16-A887711BDA7D}"/>
              </a:ext>
            </a:extLst>
          </p:cNvPr>
          <p:cNvSpPr>
            <a:spLocks noGrp="1"/>
          </p:cNvSpPr>
          <p:nvPr>
            <p:ph type="body" sz="quarter" idx="10" hasCustomPrompt="1"/>
          </p:nvPr>
        </p:nvSpPr>
        <p:spPr>
          <a:xfrm>
            <a:off x="448908" y="2489886"/>
            <a:ext cx="5343525" cy="1272222"/>
          </a:xfrm>
        </p:spPr>
        <p:txBody>
          <a:bodyPr anchor="ctr"/>
          <a:lstStyle>
            <a:lvl1pPr>
              <a:lnSpc>
                <a:spcPct val="90000"/>
              </a:lnSpc>
              <a:defRPr sz="4000">
                <a:solidFill>
                  <a:schemeClr val="bg1"/>
                </a:solidFill>
                <a:latin typeface="+mj-lt"/>
              </a:defRPr>
            </a:lvl1pPr>
          </a:lstStyle>
          <a:p>
            <a:pPr lvl="0"/>
            <a:r>
              <a:rPr lang="en-US"/>
              <a:t>Main Title Goes Here</a:t>
            </a:r>
          </a:p>
          <a:p>
            <a:pPr lvl="0"/>
            <a:r>
              <a:rPr lang="en-US"/>
              <a:t>(2 lines)</a:t>
            </a:r>
          </a:p>
        </p:txBody>
      </p:sp>
      <p:sp>
        <p:nvSpPr>
          <p:cNvPr id="13" name="Text Placeholder 11">
            <a:extLst>
              <a:ext uri="{FF2B5EF4-FFF2-40B4-BE49-F238E27FC236}">
                <a16:creationId xmlns:a16="http://schemas.microsoft.com/office/drawing/2014/main" id="{11BCB759-A878-40A5-9C1B-E00D55659998}"/>
              </a:ext>
            </a:extLst>
          </p:cNvPr>
          <p:cNvSpPr>
            <a:spLocks noGrp="1"/>
          </p:cNvSpPr>
          <p:nvPr>
            <p:ph type="body" sz="quarter" idx="11" hasCustomPrompt="1"/>
          </p:nvPr>
        </p:nvSpPr>
        <p:spPr>
          <a:xfrm>
            <a:off x="448908" y="2008238"/>
            <a:ext cx="5343525" cy="332105"/>
          </a:xfrm>
        </p:spPr>
        <p:txBody>
          <a:bodyPr anchor="b"/>
          <a:lstStyle>
            <a:lvl1pPr marL="0" algn="l" defTabSz="914367" rtl="0" eaLnBrk="1" latinLnBrk="0" hangingPunct="1">
              <a:lnSpc>
                <a:spcPct val="100000"/>
              </a:lnSpc>
              <a:spcBef>
                <a:spcPct val="0"/>
              </a:spcBef>
              <a:buNone/>
              <a:defRPr lang="en-US" sz="2400" b="0" kern="1200" cap="none" spc="0" baseline="0" dirty="0">
                <a:ln w="3175">
                  <a:noFill/>
                </a:ln>
                <a:solidFill>
                  <a:schemeClr val="accent1"/>
                </a:solidFill>
                <a:effectLst/>
                <a:latin typeface="+mn-lt"/>
                <a:ea typeface="+mn-ea"/>
                <a:cs typeface="Segoe UI" pitchFamily="34" charset="0"/>
              </a:defRPr>
            </a:lvl1pPr>
          </a:lstStyle>
          <a:p>
            <a:pPr lvl="0"/>
            <a:r>
              <a:rPr lang="en-US"/>
              <a:t>Event name</a:t>
            </a:r>
          </a:p>
        </p:txBody>
      </p:sp>
      <p:sp>
        <p:nvSpPr>
          <p:cNvPr id="14" name="Text Placeholder 11">
            <a:extLst>
              <a:ext uri="{FF2B5EF4-FFF2-40B4-BE49-F238E27FC236}">
                <a16:creationId xmlns:a16="http://schemas.microsoft.com/office/drawing/2014/main" id="{FD709F41-BABE-45CE-AC15-71AC5A7FE0CA}"/>
              </a:ext>
            </a:extLst>
          </p:cNvPr>
          <p:cNvSpPr>
            <a:spLocks noGrp="1"/>
          </p:cNvSpPr>
          <p:nvPr>
            <p:ph type="body" sz="quarter" idx="12" hasCustomPrompt="1"/>
          </p:nvPr>
        </p:nvSpPr>
        <p:spPr>
          <a:xfrm>
            <a:off x="448908" y="3835451"/>
            <a:ext cx="3777859" cy="289430"/>
          </a:xfrm>
        </p:spPr>
        <p:txBody>
          <a:bodyPr anchor="t"/>
          <a:lstStyle>
            <a:lvl1pPr marL="0" algn="l" defTabSz="914367" rtl="0" eaLnBrk="1" latinLnBrk="0" hangingPunct="1">
              <a:lnSpc>
                <a:spcPct val="100000"/>
              </a:lnSpc>
              <a:spcBef>
                <a:spcPct val="0"/>
              </a:spcBef>
              <a:buNone/>
              <a:defRPr lang="en-US" sz="1400" b="0" kern="1200" cap="none" spc="0" baseline="0" dirty="0">
                <a:ln w="3175">
                  <a:noFill/>
                </a:ln>
                <a:solidFill>
                  <a:schemeClr val="bg1"/>
                </a:solidFill>
                <a:effectLst/>
                <a:latin typeface="+mn-lt"/>
                <a:ea typeface="+mn-ea"/>
                <a:cs typeface="Segoe UI" pitchFamily="34" charset="0"/>
              </a:defRPr>
            </a:lvl1pPr>
          </a:lstStyle>
          <a:p>
            <a:r>
              <a:rPr lang="en-US"/>
              <a:t>Speaker/Date</a:t>
            </a:r>
          </a:p>
        </p:txBody>
      </p:sp>
      <p:grpSp>
        <p:nvGrpSpPr>
          <p:cNvPr id="51" name="Group 50">
            <a:extLst>
              <a:ext uri="{FF2B5EF4-FFF2-40B4-BE49-F238E27FC236}">
                <a16:creationId xmlns:a16="http://schemas.microsoft.com/office/drawing/2014/main" id="{7C27BFA4-3937-40AF-9083-6BD36E588C95}"/>
              </a:ext>
            </a:extLst>
          </p:cNvPr>
          <p:cNvGrpSpPr/>
          <p:nvPr/>
        </p:nvGrpSpPr>
        <p:grpSpPr>
          <a:xfrm>
            <a:off x="419101" y="419787"/>
            <a:ext cx="1453797" cy="310177"/>
            <a:chOff x="419101" y="419787"/>
            <a:chExt cx="1453797" cy="310177"/>
          </a:xfrm>
        </p:grpSpPr>
        <p:sp>
          <p:nvSpPr>
            <p:cNvPr id="7" name="Freeform: Shape 6">
              <a:extLst>
                <a:ext uri="{FF2B5EF4-FFF2-40B4-BE49-F238E27FC236}">
                  <a16:creationId xmlns:a16="http://schemas.microsoft.com/office/drawing/2014/main" id="{07FFEC32-771C-4FCE-88AF-CF0758911111}"/>
                </a:ext>
              </a:extLst>
            </p:cNvPr>
            <p:cNvSpPr/>
            <p:nvPr/>
          </p:nvSpPr>
          <p:spPr>
            <a:xfrm>
              <a:off x="822451" y="468278"/>
              <a:ext cx="1050447" cy="202684"/>
            </a:xfrm>
            <a:custGeom>
              <a:avLst/>
              <a:gdLst>
                <a:gd name="connsiteX0" fmla="*/ 1050448 w 1050447"/>
                <a:gd name="connsiteY0" fmla="*/ 91827 h 202684"/>
                <a:gd name="connsiteX1" fmla="*/ 1050448 w 1050447"/>
                <a:gd name="connsiteY1" fmla="*/ 66276 h 202684"/>
                <a:gd name="connsiteX2" fmla="*/ 1018693 w 1050447"/>
                <a:gd name="connsiteY2" fmla="*/ 66276 h 202684"/>
                <a:gd name="connsiteX3" fmla="*/ 1018693 w 1050447"/>
                <a:gd name="connsiteY3" fmla="*/ 26553 h 202684"/>
                <a:gd name="connsiteX4" fmla="*/ 1017624 w 1050447"/>
                <a:gd name="connsiteY4" fmla="*/ 26882 h 202684"/>
                <a:gd name="connsiteX5" fmla="*/ 987802 w 1050447"/>
                <a:gd name="connsiteY5" fmla="*/ 36001 h 202684"/>
                <a:gd name="connsiteX6" fmla="*/ 987215 w 1050447"/>
                <a:gd name="connsiteY6" fmla="*/ 36179 h 202684"/>
                <a:gd name="connsiteX7" fmla="*/ 987215 w 1050447"/>
                <a:gd name="connsiteY7" fmla="*/ 66277 h 202684"/>
                <a:gd name="connsiteX8" fmla="*/ 940146 w 1050447"/>
                <a:gd name="connsiteY8" fmla="*/ 66277 h 202684"/>
                <a:gd name="connsiteX9" fmla="*/ 940146 w 1050447"/>
                <a:gd name="connsiteY9" fmla="*/ 49510 h 202684"/>
                <a:gd name="connsiteX10" fmla="*/ 945335 w 1050447"/>
                <a:gd name="connsiteY10" fmla="*/ 31744 h 202684"/>
                <a:gd name="connsiteX11" fmla="*/ 959881 w 1050447"/>
                <a:gd name="connsiteY11" fmla="*/ 25806 h 202684"/>
                <a:gd name="connsiteX12" fmla="*/ 973679 w 1050447"/>
                <a:gd name="connsiteY12" fmla="*/ 28943 h 202684"/>
                <a:gd name="connsiteX13" fmla="*/ 974850 w 1050447"/>
                <a:gd name="connsiteY13" fmla="*/ 29466 h 202684"/>
                <a:gd name="connsiteX14" fmla="*/ 974850 w 1050447"/>
                <a:gd name="connsiteY14" fmla="*/ 2557 h 202684"/>
                <a:gd name="connsiteX15" fmla="*/ 974299 w 1050447"/>
                <a:gd name="connsiteY15" fmla="*/ 2354 h 202684"/>
                <a:gd name="connsiteX16" fmla="*/ 956665 w 1050447"/>
                <a:gd name="connsiteY16" fmla="*/ 0 h 202684"/>
                <a:gd name="connsiteX17" fmla="*/ 931652 w 1050447"/>
                <a:gd name="connsiteY17" fmla="*/ 6006 h 202684"/>
                <a:gd name="connsiteX18" fmla="*/ 914487 w 1050447"/>
                <a:gd name="connsiteY18" fmla="*/ 22964 h 202684"/>
                <a:gd name="connsiteX19" fmla="*/ 908409 w 1050447"/>
                <a:gd name="connsiteY19" fmla="*/ 47842 h 202684"/>
                <a:gd name="connsiteX20" fmla="*/ 908409 w 1050447"/>
                <a:gd name="connsiteY20" fmla="*/ 66276 h 202684"/>
                <a:gd name="connsiteX21" fmla="*/ 886302 w 1050447"/>
                <a:gd name="connsiteY21" fmla="*/ 66276 h 202684"/>
                <a:gd name="connsiteX22" fmla="*/ 886302 w 1050447"/>
                <a:gd name="connsiteY22" fmla="*/ 91827 h 202684"/>
                <a:gd name="connsiteX23" fmla="*/ 908409 w 1050447"/>
                <a:gd name="connsiteY23" fmla="*/ 91827 h 202684"/>
                <a:gd name="connsiteX24" fmla="*/ 908409 w 1050447"/>
                <a:gd name="connsiteY24" fmla="*/ 199470 h 202684"/>
                <a:gd name="connsiteX25" fmla="*/ 940146 w 1050447"/>
                <a:gd name="connsiteY25" fmla="*/ 199470 h 202684"/>
                <a:gd name="connsiteX26" fmla="*/ 940146 w 1050447"/>
                <a:gd name="connsiteY26" fmla="*/ 91827 h 202684"/>
                <a:gd name="connsiteX27" fmla="*/ 987215 w 1050447"/>
                <a:gd name="connsiteY27" fmla="*/ 91827 h 202684"/>
                <a:gd name="connsiteX28" fmla="*/ 987215 w 1050447"/>
                <a:gd name="connsiteY28" fmla="*/ 160232 h 202684"/>
                <a:gd name="connsiteX29" fmla="*/ 1026737 w 1050447"/>
                <a:gd name="connsiteY29" fmla="*/ 202682 h 202684"/>
                <a:gd name="connsiteX30" fmla="*/ 1040209 w 1050447"/>
                <a:gd name="connsiteY30" fmla="*/ 201189 h 202684"/>
                <a:gd name="connsiteX31" fmla="*/ 1050026 w 1050447"/>
                <a:gd name="connsiteY31" fmla="*/ 198079 h 202684"/>
                <a:gd name="connsiteX32" fmla="*/ 1050448 w 1050447"/>
                <a:gd name="connsiteY32" fmla="*/ 197831 h 202684"/>
                <a:gd name="connsiteX33" fmla="*/ 1050448 w 1050447"/>
                <a:gd name="connsiteY33" fmla="*/ 172044 h 202684"/>
                <a:gd name="connsiteX34" fmla="*/ 1049154 w 1050447"/>
                <a:gd name="connsiteY34" fmla="*/ 172897 h 202684"/>
                <a:gd name="connsiteX35" fmla="*/ 1042769 w 1050447"/>
                <a:gd name="connsiteY35" fmla="*/ 175678 h 202684"/>
                <a:gd name="connsiteX36" fmla="*/ 1036497 w 1050447"/>
                <a:gd name="connsiteY36" fmla="*/ 176744 h 202684"/>
                <a:gd name="connsiteX37" fmla="*/ 1022996 w 1050447"/>
                <a:gd name="connsiteY37" fmla="*/ 171825 h 202684"/>
                <a:gd name="connsiteX38" fmla="*/ 1018693 w 1050447"/>
                <a:gd name="connsiteY38" fmla="*/ 154710 h 202684"/>
                <a:gd name="connsiteX39" fmla="*/ 1018693 w 1050447"/>
                <a:gd name="connsiteY39" fmla="*/ 91827 h 202684"/>
                <a:gd name="connsiteX40" fmla="*/ 1050448 w 1050447"/>
                <a:gd name="connsiteY40" fmla="*/ 91827 h 202684"/>
                <a:gd name="connsiteX41" fmla="*/ 815428 w 1050447"/>
                <a:gd name="connsiteY41" fmla="*/ 176748 h 202684"/>
                <a:gd name="connsiteX42" fmla="*/ 788426 w 1050447"/>
                <a:gd name="connsiteY42" fmla="*/ 165412 h 202684"/>
                <a:gd name="connsiteX43" fmla="*/ 778724 w 1050447"/>
                <a:gd name="connsiteY43" fmla="*/ 133391 h 202684"/>
                <a:gd name="connsiteX44" fmla="*/ 788429 w 1050447"/>
                <a:gd name="connsiteY44" fmla="*/ 100523 h 202684"/>
                <a:gd name="connsiteX45" fmla="*/ 815169 w 1050447"/>
                <a:gd name="connsiteY45" fmla="*/ 89005 h 202684"/>
                <a:gd name="connsiteX46" fmla="*/ 841209 w 1050447"/>
                <a:gd name="connsiteY46" fmla="*/ 100018 h 202684"/>
                <a:gd name="connsiteX47" fmla="*/ 850716 w 1050447"/>
                <a:gd name="connsiteY47" fmla="*/ 132619 h 202684"/>
                <a:gd name="connsiteX48" fmla="*/ 841771 w 1050447"/>
                <a:gd name="connsiteY48" fmla="*/ 165625 h 202684"/>
                <a:gd name="connsiteX49" fmla="*/ 815428 w 1050447"/>
                <a:gd name="connsiteY49" fmla="*/ 176748 h 202684"/>
                <a:gd name="connsiteX50" fmla="*/ 816839 w 1050447"/>
                <a:gd name="connsiteY50" fmla="*/ 63067 h 202684"/>
                <a:gd name="connsiteX51" fmla="*/ 764960 w 1050447"/>
                <a:gd name="connsiteY51" fmla="*/ 82196 h 202684"/>
                <a:gd name="connsiteX52" fmla="*/ 746217 w 1050447"/>
                <a:gd name="connsiteY52" fmla="*/ 134413 h 202684"/>
                <a:gd name="connsiteX53" fmla="*/ 764514 w 1050447"/>
                <a:gd name="connsiteY53" fmla="*/ 184262 h 202684"/>
                <a:gd name="connsiteX54" fmla="*/ 813625 w 1050447"/>
                <a:gd name="connsiteY54" fmla="*/ 202679 h 202684"/>
                <a:gd name="connsiteX55" fmla="*/ 864477 w 1050447"/>
                <a:gd name="connsiteY55" fmla="*/ 183285 h 202684"/>
                <a:gd name="connsiteX56" fmla="*/ 883218 w 1050447"/>
                <a:gd name="connsiteY56" fmla="*/ 131586 h 202684"/>
                <a:gd name="connsiteX57" fmla="*/ 865636 w 1050447"/>
                <a:gd name="connsiteY57" fmla="*/ 81368 h 202684"/>
                <a:gd name="connsiteX58" fmla="*/ 816839 w 1050447"/>
                <a:gd name="connsiteY58" fmla="*/ 63067 h 202684"/>
                <a:gd name="connsiteX59" fmla="*/ 695047 w 1050447"/>
                <a:gd name="connsiteY59" fmla="*/ 63067 h 202684"/>
                <a:gd name="connsiteX60" fmla="*/ 658286 w 1050447"/>
                <a:gd name="connsiteY60" fmla="*/ 74423 h 202684"/>
                <a:gd name="connsiteX61" fmla="*/ 643961 w 1050447"/>
                <a:gd name="connsiteY61" fmla="*/ 103973 h 202684"/>
                <a:gd name="connsiteX62" fmla="*/ 647049 w 1050447"/>
                <a:gd name="connsiteY62" fmla="*/ 120492 h 202684"/>
                <a:gd name="connsiteX63" fmla="*/ 656533 w 1050447"/>
                <a:gd name="connsiteY63" fmla="*/ 132872 h 202684"/>
                <a:gd name="connsiteX64" fmla="*/ 675824 w 1050447"/>
                <a:gd name="connsiteY64" fmla="*/ 143658 h 202684"/>
                <a:gd name="connsiteX65" fmla="*/ 691867 w 1050447"/>
                <a:gd name="connsiteY65" fmla="*/ 151126 h 202684"/>
                <a:gd name="connsiteX66" fmla="*/ 698931 w 1050447"/>
                <a:gd name="connsiteY66" fmla="*/ 156923 h 202684"/>
                <a:gd name="connsiteX67" fmla="*/ 700896 w 1050447"/>
                <a:gd name="connsiteY67" fmla="*/ 164473 h 202684"/>
                <a:gd name="connsiteX68" fmla="*/ 680393 w 1050447"/>
                <a:gd name="connsiteY68" fmla="*/ 177775 h 202684"/>
                <a:gd name="connsiteX69" fmla="*/ 663043 w 1050447"/>
                <a:gd name="connsiteY69" fmla="*/ 174602 h 202684"/>
                <a:gd name="connsiteX70" fmla="*/ 645276 w 1050447"/>
                <a:gd name="connsiteY70" fmla="*/ 165599 h 202684"/>
                <a:gd name="connsiteX71" fmla="*/ 643958 w 1050447"/>
                <a:gd name="connsiteY71" fmla="*/ 164654 h 202684"/>
                <a:gd name="connsiteX72" fmla="*/ 643958 w 1050447"/>
                <a:gd name="connsiteY72" fmla="*/ 195191 h 202684"/>
                <a:gd name="connsiteX73" fmla="*/ 644442 w 1050447"/>
                <a:gd name="connsiteY73" fmla="*/ 195415 h 202684"/>
                <a:gd name="connsiteX74" fmla="*/ 661267 w 1050447"/>
                <a:gd name="connsiteY74" fmla="*/ 200609 h 202684"/>
                <a:gd name="connsiteX75" fmla="*/ 679236 w 1050447"/>
                <a:gd name="connsiteY75" fmla="*/ 202684 h 202684"/>
                <a:gd name="connsiteX76" fmla="*/ 718053 w 1050447"/>
                <a:gd name="connsiteY76" fmla="*/ 191265 h 202684"/>
                <a:gd name="connsiteX77" fmla="*/ 732508 w 1050447"/>
                <a:gd name="connsiteY77" fmla="*/ 161012 h 202684"/>
                <a:gd name="connsiteX78" fmla="*/ 724732 w 1050447"/>
                <a:gd name="connsiteY78" fmla="*/ 138126 h 202684"/>
                <a:gd name="connsiteX79" fmla="*/ 698314 w 1050447"/>
                <a:gd name="connsiteY79" fmla="*/ 121315 h 202684"/>
                <a:gd name="connsiteX80" fmla="*/ 679492 w 1050447"/>
                <a:gd name="connsiteY80" fmla="*/ 111536 h 202684"/>
                <a:gd name="connsiteX81" fmla="*/ 675696 w 1050447"/>
                <a:gd name="connsiteY81" fmla="*/ 101276 h 202684"/>
                <a:gd name="connsiteX82" fmla="*/ 680513 w 1050447"/>
                <a:gd name="connsiteY82" fmla="*/ 91786 h 202684"/>
                <a:gd name="connsiteX83" fmla="*/ 694019 w 1050447"/>
                <a:gd name="connsiteY83" fmla="*/ 87976 h 202684"/>
                <a:gd name="connsiteX84" fmla="*/ 710098 w 1050447"/>
                <a:gd name="connsiteY84" fmla="*/ 90447 h 202684"/>
                <a:gd name="connsiteX85" fmla="*/ 724139 w 1050447"/>
                <a:gd name="connsiteY85" fmla="*/ 96954 h 202684"/>
                <a:gd name="connsiteX86" fmla="*/ 725435 w 1050447"/>
                <a:gd name="connsiteY86" fmla="*/ 97840 h 202684"/>
                <a:gd name="connsiteX87" fmla="*/ 725435 w 1050447"/>
                <a:gd name="connsiteY87" fmla="*/ 68873 h 202684"/>
                <a:gd name="connsiteX88" fmla="*/ 724937 w 1050447"/>
                <a:gd name="connsiteY88" fmla="*/ 68660 h 202684"/>
                <a:gd name="connsiteX89" fmla="*/ 710680 w 1050447"/>
                <a:gd name="connsiteY89" fmla="*/ 64685 h 202684"/>
                <a:gd name="connsiteX90" fmla="*/ 695047 w 1050447"/>
                <a:gd name="connsiteY90" fmla="*/ 63067 h 202684"/>
                <a:gd name="connsiteX91" fmla="*/ 561225 w 1050447"/>
                <a:gd name="connsiteY91" fmla="*/ 176748 h 202684"/>
                <a:gd name="connsiteX92" fmla="*/ 534224 w 1050447"/>
                <a:gd name="connsiteY92" fmla="*/ 165412 h 202684"/>
                <a:gd name="connsiteX93" fmla="*/ 524526 w 1050447"/>
                <a:gd name="connsiteY93" fmla="*/ 133391 h 202684"/>
                <a:gd name="connsiteX94" fmla="*/ 534231 w 1050447"/>
                <a:gd name="connsiteY94" fmla="*/ 100523 h 202684"/>
                <a:gd name="connsiteX95" fmla="*/ 560970 w 1050447"/>
                <a:gd name="connsiteY95" fmla="*/ 89005 h 202684"/>
                <a:gd name="connsiteX96" fmla="*/ 587007 w 1050447"/>
                <a:gd name="connsiteY96" fmla="*/ 100018 h 202684"/>
                <a:gd name="connsiteX97" fmla="*/ 596514 w 1050447"/>
                <a:gd name="connsiteY97" fmla="*/ 132619 h 202684"/>
                <a:gd name="connsiteX98" fmla="*/ 587568 w 1050447"/>
                <a:gd name="connsiteY98" fmla="*/ 165625 h 202684"/>
                <a:gd name="connsiteX99" fmla="*/ 561225 w 1050447"/>
                <a:gd name="connsiteY99" fmla="*/ 176748 h 202684"/>
                <a:gd name="connsiteX100" fmla="*/ 562639 w 1050447"/>
                <a:gd name="connsiteY100" fmla="*/ 63067 h 202684"/>
                <a:gd name="connsiteX101" fmla="*/ 510761 w 1050447"/>
                <a:gd name="connsiteY101" fmla="*/ 82196 h 202684"/>
                <a:gd name="connsiteX102" fmla="*/ 492013 w 1050447"/>
                <a:gd name="connsiteY102" fmla="*/ 134413 h 202684"/>
                <a:gd name="connsiteX103" fmla="*/ 510315 w 1050447"/>
                <a:gd name="connsiteY103" fmla="*/ 184262 h 202684"/>
                <a:gd name="connsiteX104" fmla="*/ 559424 w 1050447"/>
                <a:gd name="connsiteY104" fmla="*/ 202679 h 202684"/>
                <a:gd name="connsiteX105" fmla="*/ 610277 w 1050447"/>
                <a:gd name="connsiteY105" fmla="*/ 183285 h 202684"/>
                <a:gd name="connsiteX106" fmla="*/ 629018 w 1050447"/>
                <a:gd name="connsiteY106" fmla="*/ 131586 h 202684"/>
                <a:gd name="connsiteX107" fmla="*/ 611432 w 1050447"/>
                <a:gd name="connsiteY107" fmla="*/ 81368 h 202684"/>
                <a:gd name="connsiteX108" fmla="*/ 562639 w 1050447"/>
                <a:gd name="connsiteY108" fmla="*/ 63067 h 202684"/>
                <a:gd name="connsiteX109" fmla="*/ 443838 w 1050447"/>
                <a:gd name="connsiteY109" fmla="*/ 89342 h 202684"/>
                <a:gd name="connsiteX110" fmla="*/ 443838 w 1050447"/>
                <a:gd name="connsiteY110" fmla="*/ 66276 h 202684"/>
                <a:gd name="connsiteX111" fmla="*/ 412488 w 1050447"/>
                <a:gd name="connsiteY111" fmla="*/ 66276 h 202684"/>
                <a:gd name="connsiteX112" fmla="*/ 412488 w 1050447"/>
                <a:gd name="connsiteY112" fmla="*/ 199467 h 202684"/>
                <a:gd name="connsiteX113" fmla="*/ 443838 w 1050447"/>
                <a:gd name="connsiteY113" fmla="*/ 199467 h 202684"/>
                <a:gd name="connsiteX114" fmla="*/ 443838 w 1050447"/>
                <a:gd name="connsiteY114" fmla="*/ 131335 h 202684"/>
                <a:gd name="connsiteX115" fmla="*/ 451653 w 1050447"/>
                <a:gd name="connsiteY115" fmla="*/ 103043 h 202684"/>
                <a:gd name="connsiteX116" fmla="*/ 471928 w 1050447"/>
                <a:gd name="connsiteY116" fmla="*/ 92340 h 202684"/>
                <a:gd name="connsiteX117" fmla="*/ 481355 w 1050447"/>
                <a:gd name="connsiteY117" fmla="*/ 93726 h 202684"/>
                <a:gd name="connsiteX118" fmla="*/ 488665 w 1050447"/>
                <a:gd name="connsiteY118" fmla="*/ 96680 h 202684"/>
                <a:gd name="connsiteX119" fmla="*/ 489982 w 1050447"/>
                <a:gd name="connsiteY119" fmla="*/ 97635 h 202684"/>
                <a:gd name="connsiteX120" fmla="*/ 489982 w 1050447"/>
                <a:gd name="connsiteY120" fmla="*/ 66048 h 202684"/>
                <a:gd name="connsiteX121" fmla="*/ 489475 w 1050447"/>
                <a:gd name="connsiteY121" fmla="*/ 65830 h 202684"/>
                <a:gd name="connsiteX122" fmla="*/ 477199 w 1050447"/>
                <a:gd name="connsiteY122" fmla="*/ 63965 h 202684"/>
                <a:gd name="connsiteX123" fmla="*/ 456232 w 1050447"/>
                <a:gd name="connsiteY123" fmla="*/ 71476 h 202684"/>
                <a:gd name="connsiteX124" fmla="*/ 444171 w 1050447"/>
                <a:gd name="connsiteY124" fmla="*/ 89342 h 202684"/>
                <a:gd name="connsiteX125" fmla="*/ 443838 w 1050447"/>
                <a:gd name="connsiteY125" fmla="*/ 89342 h 202684"/>
                <a:gd name="connsiteX126" fmla="*/ 356346 w 1050447"/>
                <a:gd name="connsiteY126" fmla="*/ 63067 h 202684"/>
                <a:gd name="connsiteX127" fmla="*/ 318223 w 1050447"/>
                <a:gd name="connsiteY127" fmla="*/ 72225 h 202684"/>
                <a:gd name="connsiteX128" fmla="*/ 293079 w 1050447"/>
                <a:gd name="connsiteY128" fmla="*/ 98065 h 202684"/>
                <a:gd name="connsiteX129" fmla="*/ 284442 w 1050447"/>
                <a:gd name="connsiteY129" fmla="*/ 136342 h 202684"/>
                <a:gd name="connsiteX130" fmla="*/ 292835 w 1050447"/>
                <a:gd name="connsiteY130" fmla="*/ 170654 h 202684"/>
                <a:gd name="connsiteX131" fmla="*/ 316295 w 1050447"/>
                <a:gd name="connsiteY131" fmla="*/ 194357 h 202684"/>
                <a:gd name="connsiteX132" fmla="*/ 350568 w 1050447"/>
                <a:gd name="connsiteY132" fmla="*/ 202683 h 202684"/>
                <a:gd name="connsiteX133" fmla="*/ 388386 w 1050447"/>
                <a:gd name="connsiteY133" fmla="*/ 193836 h 202684"/>
                <a:gd name="connsiteX134" fmla="*/ 388798 w 1050447"/>
                <a:gd name="connsiteY134" fmla="*/ 193600 h 202684"/>
                <a:gd name="connsiteX135" fmla="*/ 388798 w 1050447"/>
                <a:gd name="connsiteY135" fmla="*/ 164896 h 202684"/>
                <a:gd name="connsiteX136" fmla="*/ 387480 w 1050447"/>
                <a:gd name="connsiteY136" fmla="*/ 165857 h 202684"/>
                <a:gd name="connsiteX137" fmla="*/ 372143 w 1050447"/>
                <a:gd name="connsiteY137" fmla="*/ 173839 h 202684"/>
                <a:gd name="connsiteX138" fmla="*/ 357120 w 1050447"/>
                <a:gd name="connsiteY138" fmla="*/ 176748 h 202684"/>
                <a:gd name="connsiteX139" fmla="*/ 327776 w 1050447"/>
                <a:gd name="connsiteY139" fmla="*/ 165317 h 202684"/>
                <a:gd name="connsiteX140" fmla="*/ 316950 w 1050447"/>
                <a:gd name="connsiteY140" fmla="*/ 133643 h 202684"/>
                <a:gd name="connsiteX141" fmla="*/ 328234 w 1050447"/>
                <a:gd name="connsiteY141" fmla="*/ 101133 h 202684"/>
                <a:gd name="connsiteX142" fmla="*/ 357638 w 1050447"/>
                <a:gd name="connsiteY142" fmla="*/ 89005 h 202684"/>
                <a:gd name="connsiteX143" fmla="*/ 387483 w 1050447"/>
                <a:gd name="connsiteY143" fmla="*/ 99379 h 202684"/>
                <a:gd name="connsiteX144" fmla="*/ 388798 w 1050447"/>
                <a:gd name="connsiteY144" fmla="*/ 100333 h 202684"/>
                <a:gd name="connsiteX145" fmla="*/ 388798 w 1050447"/>
                <a:gd name="connsiteY145" fmla="*/ 70089 h 202684"/>
                <a:gd name="connsiteX146" fmla="*/ 388373 w 1050447"/>
                <a:gd name="connsiteY146" fmla="*/ 69850 h 202684"/>
                <a:gd name="connsiteX147" fmla="*/ 373870 w 1050447"/>
                <a:gd name="connsiteY147" fmla="*/ 64946 h 202684"/>
                <a:gd name="connsiteX148" fmla="*/ 356346 w 1050447"/>
                <a:gd name="connsiteY148" fmla="*/ 63067 h 202684"/>
                <a:gd name="connsiteX149" fmla="*/ 262851 w 1050447"/>
                <a:gd name="connsiteY149" fmla="*/ 66277 h 202684"/>
                <a:gd name="connsiteX150" fmla="*/ 231501 w 1050447"/>
                <a:gd name="connsiteY150" fmla="*/ 66277 h 202684"/>
                <a:gd name="connsiteX151" fmla="*/ 231501 w 1050447"/>
                <a:gd name="connsiteY151" fmla="*/ 199467 h 202684"/>
                <a:gd name="connsiteX152" fmla="*/ 262851 w 1050447"/>
                <a:gd name="connsiteY152" fmla="*/ 199467 h 202684"/>
                <a:gd name="connsiteX153" fmla="*/ 262851 w 1050447"/>
                <a:gd name="connsiteY153" fmla="*/ 66277 h 202684"/>
                <a:gd name="connsiteX154" fmla="*/ 247497 w 1050447"/>
                <a:gd name="connsiteY154" fmla="*/ 9537 h 202684"/>
                <a:gd name="connsiteX155" fmla="*/ 234139 w 1050447"/>
                <a:gd name="connsiteY155" fmla="*/ 14771 h 202684"/>
                <a:gd name="connsiteX156" fmla="*/ 228543 w 1050447"/>
                <a:gd name="connsiteY156" fmla="*/ 27835 h 202684"/>
                <a:gd name="connsiteX157" fmla="*/ 234082 w 1050447"/>
                <a:gd name="connsiteY157" fmla="*/ 40645 h 202684"/>
                <a:gd name="connsiteX158" fmla="*/ 247498 w 1050447"/>
                <a:gd name="connsiteY158" fmla="*/ 45746 h 202684"/>
                <a:gd name="connsiteX159" fmla="*/ 260974 w 1050447"/>
                <a:gd name="connsiteY159" fmla="*/ 40650 h 202684"/>
                <a:gd name="connsiteX160" fmla="*/ 266582 w 1050447"/>
                <a:gd name="connsiteY160" fmla="*/ 27835 h 202684"/>
                <a:gd name="connsiteX161" fmla="*/ 261127 w 1050447"/>
                <a:gd name="connsiteY161" fmla="*/ 14912 h 202684"/>
                <a:gd name="connsiteX162" fmla="*/ 247497 w 1050447"/>
                <a:gd name="connsiteY162" fmla="*/ 9537 h 202684"/>
                <a:gd name="connsiteX163" fmla="*/ 169276 w 1050447"/>
                <a:gd name="connsiteY163" fmla="*/ 56450 h 202684"/>
                <a:gd name="connsiteX164" fmla="*/ 169276 w 1050447"/>
                <a:gd name="connsiteY164" fmla="*/ 199467 h 202684"/>
                <a:gd name="connsiteX165" fmla="*/ 201270 w 1050447"/>
                <a:gd name="connsiteY165" fmla="*/ 199467 h 202684"/>
                <a:gd name="connsiteX166" fmla="*/ 201270 w 1050447"/>
                <a:gd name="connsiteY166" fmla="*/ 13615 h 202684"/>
                <a:gd name="connsiteX167" fmla="*/ 156989 w 1050447"/>
                <a:gd name="connsiteY167" fmla="*/ 13615 h 202684"/>
                <a:gd name="connsiteX168" fmla="*/ 100705 w 1050447"/>
                <a:gd name="connsiteY168" fmla="*/ 151661 h 202684"/>
                <a:gd name="connsiteX169" fmla="*/ 46084 w 1050447"/>
                <a:gd name="connsiteY169" fmla="*/ 13615 h 202684"/>
                <a:gd name="connsiteX170" fmla="*/ 0 w 1050447"/>
                <a:gd name="connsiteY170" fmla="*/ 13615 h 202684"/>
                <a:gd name="connsiteX171" fmla="*/ 0 w 1050447"/>
                <a:gd name="connsiteY171" fmla="*/ 199466 h 202684"/>
                <a:gd name="connsiteX172" fmla="*/ 30066 w 1050447"/>
                <a:gd name="connsiteY172" fmla="*/ 199466 h 202684"/>
                <a:gd name="connsiteX173" fmla="*/ 30066 w 1050447"/>
                <a:gd name="connsiteY173" fmla="*/ 56436 h 202684"/>
                <a:gd name="connsiteX174" fmla="*/ 31098 w 1050447"/>
                <a:gd name="connsiteY174" fmla="*/ 56436 h 202684"/>
                <a:gd name="connsiteX175" fmla="*/ 88776 w 1050447"/>
                <a:gd name="connsiteY175" fmla="*/ 199467 h 202684"/>
                <a:gd name="connsiteX176" fmla="*/ 111466 w 1050447"/>
                <a:gd name="connsiteY176" fmla="*/ 199467 h 202684"/>
                <a:gd name="connsiteX177" fmla="*/ 168244 w 1050447"/>
                <a:gd name="connsiteY177" fmla="*/ 56450 h 202684"/>
                <a:gd name="connsiteX178" fmla="*/ 169276 w 1050447"/>
                <a:gd name="connsiteY178" fmla="*/ 56450 h 202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Lst>
              <a:rect l="l" t="t" r="r" b="b"/>
              <a:pathLst>
                <a:path w="1050447" h="202684">
                  <a:moveTo>
                    <a:pt x="1050448" y="91827"/>
                  </a:moveTo>
                  <a:lnTo>
                    <a:pt x="1050448" y="66276"/>
                  </a:lnTo>
                  <a:lnTo>
                    <a:pt x="1018693" y="66276"/>
                  </a:lnTo>
                  <a:lnTo>
                    <a:pt x="1018693" y="26553"/>
                  </a:lnTo>
                  <a:lnTo>
                    <a:pt x="1017624" y="26882"/>
                  </a:lnTo>
                  <a:lnTo>
                    <a:pt x="987802" y="36001"/>
                  </a:lnTo>
                  <a:lnTo>
                    <a:pt x="987215" y="36179"/>
                  </a:lnTo>
                  <a:lnTo>
                    <a:pt x="987215" y="66277"/>
                  </a:lnTo>
                  <a:lnTo>
                    <a:pt x="940146" y="66277"/>
                  </a:lnTo>
                  <a:lnTo>
                    <a:pt x="940146" y="49510"/>
                  </a:lnTo>
                  <a:cubicBezTo>
                    <a:pt x="940146" y="41703"/>
                    <a:pt x="941893" y="35728"/>
                    <a:pt x="945335" y="31744"/>
                  </a:cubicBezTo>
                  <a:cubicBezTo>
                    <a:pt x="948754" y="27807"/>
                    <a:pt x="953644" y="25806"/>
                    <a:pt x="959881" y="25806"/>
                  </a:cubicBezTo>
                  <a:cubicBezTo>
                    <a:pt x="964364" y="25806"/>
                    <a:pt x="969007" y="26861"/>
                    <a:pt x="973679" y="28943"/>
                  </a:cubicBezTo>
                  <a:lnTo>
                    <a:pt x="974850" y="29466"/>
                  </a:lnTo>
                  <a:lnTo>
                    <a:pt x="974850" y="2557"/>
                  </a:lnTo>
                  <a:lnTo>
                    <a:pt x="974299" y="2354"/>
                  </a:lnTo>
                  <a:cubicBezTo>
                    <a:pt x="969941" y="788"/>
                    <a:pt x="964013" y="0"/>
                    <a:pt x="956665" y="0"/>
                  </a:cubicBezTo>
                  <a:cubicBezTo>
                    <a:pt x="947404" y="0"/>
                    <a:pt x="938990" y="2014"/>
                    <a:pt x="931652" y="6006"/>
                  </a:cubicBezTo>
                  <a:cubicBezTo>
                    <a:pt x="924309" y="10003"/>
                    <a:pt x="918533" y="15709"/>
                    <a:pt x="914487" y="22964"/>
                  </a:cubicBezTo>
                  <a:cubicBezTo>
                    <a:pt x="910455" y="30210"/>
                    <a:pt x="908409" y="38580"/>
                    <a:pt x="908409" y="47842"/>
                  </a:cubicBezTo>
                  <a:lnTo>
                    <a:pt x="908409" y="66276"/>
                  </a:lnTo>
                  <a:lnTo>
                    <a:pt x="886302" y="66276"/>
                  </a:lnTo>
                  <a:lnTo>
                    <a:pt x="886302" y="91827"/>
                  </a:lnTo>
                  <a:lnTo>
                    <a:pt x="908409" y="91827"/>
                  </a:lnTo>
                  <a:lnTo>
                    <a:pt x="908409" y="199470"/>
                  </a:lnTo>
                  <a:lnTo>
                    <a:pt x="940146" y="199470"/>
                  </a:lnTo>
                  <a:lnTo>
                    <a:pt x="940146" y="91827"/>
                  </a:lnTo>
                  <a:lnTo>
                    <a:pt x="987215" y="91827"/>
                  </a:lnTo>
                  <a:lnTo>
                    <a:pt x="987215" y="160232"/>
                  </a:lnTo>
                  <a:cubicBezTo>
                    <a:pt x="987215" y="188405"/>
                    <a:pt x="1000511" y="202682"/>
                    <a:pt x="1026737" y="202682"/>
                  </a:cubicBezTo>
                  <a:cubicBezTo>
                    <a:pt x="1031040" y="202682"/>
                    <a:pt x="1035583" y="202177"/>
                    <a:pt x="1040209" y="201189"/>
                  </a:cubicBezTo>
                  <a:cubicBezTo>
                    <a:pt x="1044921" y="200174"/>
                    <a:pt x="1048141" y="199161"/>
                    <a:pt x="1050026" y="198079"/>
                  </a:cubicBezTo>
                  <a:lnTo>
                    <a:pt x="1050448" y="197831"/>
                  </a:lnTo>
                  <a:lnTo>
                    <a:pt x="1050448" y="172044"/>
                  </a:lnTo>
                  <a:lnTo>
                    <a:pt x="1049154" y="172897"/>
                  </a:lnTo>
                  <a:cubicBezTo>
                    <a:pt x="1047424" y="174044"/>
                    <a:pt x="1045286" y="174981"/>
                    <a:pt x="1042769" y="175678"/>
                  </a:cubicBezTo>
                  <a:cubicBezTo>
                    <a:pt x="1040238" y="176388"/>
                    <a:pt x="1038128" y="176744"/>
                    <a:pt x="1036497" y="176744"/>
                  </a:cubicBezTo>
                  <a:cubicBezTo>
                    <a:pt x="1030365" y="176744"/>
                    <a:pt x="1025809" y="175090"/>
                    <a:pt x="1022996" y="171825"/>
                  </a:cubicBezTo>
                  <a:cubicBezTo>
                    <a:pt x="1020141" y="168530"/>
                    <a:pt x="1018693" y="162769"/>
                    <a:pt x="1018693" y="154710"/>
                  </a:cubicBezTo>
                  <a:lnTo>
                    <a:pt x="1018693" y="91827"/>
                  </a:lnTo>
                  <a:lnTo>
                    <a:pt x="1050448" y="91827"/>
                  </a:lnTo>
                  <a:close/>
                  <a:moveTo>
                    <a:pt x="815428" y="176748"/>
                  </a:moveTo>
                  <a:cubicBezTo>
                    <a:pt x="803909" y="176748"/>
                    <a:pt x="794827" y="172931"/>
                    <a:pt x="788426" y="165412"/>
                  </a:cubicBezTo>
                  <a:cubicBezTo>
                    <a:pt x="781987" y="157854"/>
                    <a:pt x="778724" y="147080"/>
                    <a:pt x="778724" y="133391"/>
                  </a:cubicBezTo>
                  <a:cubicBezTo>
                    <a:pt x="778724" y="119267"/>
                    <a:pt x="781987" y="108214"/>
                    <a:pt x="788429" y="100523"/>
                  </a:cubicBezTo>
                  <a:cubicBezTo>
                    <a:pt x="794834" y="92883"/>
                    <a:pt x="803829" y="89005"/>
                    <a:pt x="815169" y="89005"/>
                  </a:cubicBezTo>
                  <a:cubicBezTo>
                    <a:pt x="826174" y="89005"/>
                    <a:pt x="834934" y="92708"/>
                    <a:pt x="841209" y="100018"/>
                  </a:cubicBezTo>
                  <a:cubicBezTo>
                    <a:pt x="847515" y="107366"/>
                    <a:pt x="850716" y="118331"/>
                    <a:pt x="850716" y="132619"/>
                  </a:cubicBezTo>
                  <a:cubicBezTo>
                    <a:pt x="850716" y="147083"/>
                    <a:pt x="847706" y="158193"/>
                    <a:pt x="841771" y="165625"/>
                  </a:cubicBezTo>
                  <a:cubicBezTo>
                    <a:pt x="835878" y="173001"/>
                    <a:pt x="827015" y="176748"/>
                    <a:pt x="815428" y="176748"/>
                  </a:cubicBezTo>
                  <a:moveTo>
                    <a:pt x="816839" y="63067"/>
                  </a:moveTo>
                  <a:cubicBezTo>
                    <a:pt x="794862" y="63067"/>
                    <a:pt x="777406" y="69503"/>
                    <a:pt x="764960" y="82196"/>
                  </a:cubicBezTo>
                  <a:cubicBezTo>
                    <a:pt x="752523" y="94890"/>
                    <a:pt x="746217" y="112457"/>
                    <a:pt x="746217" y="134413"/>
                  </a:cubicBezTo>
                  <a:cubicBezTo>
                    <a:pt x="746217" y="155267"/>
                    <a:pt x="752372" y="172041"/>
                    <a:pt x="764514" y="184262"/>
                  </a:cubicBezTo>
                  <a:cubicBezTo>
                    <a:pt x="776657" y="196486"/>
                    <a:pt x="793181" y="202679"/>
                    <a:pt x="813625" y="202679"/>
                  </a:cubicBezTo>
                  <a:cubicBezTo>
                    <a:pt x="834928" y="202679"/>
                    <a:pt x="852036" y="196153"/>
                    <a:pt x="864477" y="183285"/>
                  </a:cubicBezTo>
                  <a:cubicBezTo>
                    <a:pt x="876916" y="170430"/>
                    <a:pt x="883218" y="153029"/>
                    <a:pt x="883218" y="131586"/>
                  </a:cubicBezTo>
                  <a:cubicBezTo>
                    <a:pt x="883218" y="110406"/>
                    <a:pt x="877304" y="93507"/>
                    <a:pt x="865636" y="81368"/>
                  </a:cubicBezTo>
                  <a:cubicBezTo>
                    <a:pt x="853962" y="69223"/>
                    <a:pt x="837541" y="63067"/>
                    <a:pt x="816839" y="63067"/>
                  </a:cubicBezTo>
                  <a:moveTo>
                    <a:pt x="695047" y="63067"/>
                  </a:moveTo>
                  <a:cubicBezTo>
                    <a:pt x="680098" y="63067"/>
                    <a:pt x="667732" y="66889"/>
                    <a:pt x="658286" y="74423"/>
                  </a:cubicBezTo>
                  <a:cubicBezTo>
                    <a:pt x="648782" y="82003"/>
                    <a:pt x="643961" y="91944"/>
                    <a:pt x="643961" y="103973"/>
                  </a:cubicBezTo>
                  <a:cubicBezTo>
                    <a:pt x="643961" y="110226"/>
                    <a:pt x="645001" y="115781"/>
                    <a:pt x="647049" y="120492"/>
                  </a:cubicBezTo>
                  <a:cubicBezTo>
                    <a:pt x="649109" y="125218"/>
                    <a:pt x="652297" y="129380"/>
                    <a:pt x="656533" y="132872"/>
                  </a:cubicBezTo>
                  <a:cubicBezTo>
                    <a:pt x="660737" y="136337"/>
                    <a:pt x="667226" y="139966"/>
                    <a:pt x="675824" y="143658"/>
                  </a:cubicBezTo>
                  <a:cubicBezTo>
                    <a:pt x="683053" y="146630"/>
                    <a:pt x="688443" y="149145"/>
                    <a:pt x="691867" y="151126"/>
                  </a:cubicBezTo>
                  <a:cubicBezTo>
                    <a:pt x="695215" y="153069"/>
                    <a:pt x="697590" y="155021"/>
                    <a:pt x="698931" y="156923"/>
                  </a:cubicBezTo>
                  <a:cubicBezTo>
                    <a:pt x="700235" y="158783"/>
                    <a:pt x="700896" y="161330"/>
                    <a:pt x="700896" y="164473"/>
                  </a:cubicBezTo>
                  <a:cubicBezTo>
                    <a:pt x="700896" y="173421"/>
                    <a:pt x="694191" y="177775"/>
                    <a:pt x="680393" y="177775"/>
                  </a:cubicBezTo>
                  <a:cubicBezTo>
                    <a:pt x="675275" y="177775"/>
                    <a:pt x="669438" y="176707"/>
                    <a:pt x="663043" y="174602"/>
                  </a:cubicBezTo>
                  <a:cubicBezTo>
                    <a:pt x="656694" y="172529"/>
                    <a:pt x="650701" y="169492"/>
                    <a:pt x="645276" y="165599"/>
                  </a:cubicBezTo>
                  <a:lnTo>
                    <a:pt x="643958" y="164654"/>
                  </a:lnTo>
                  <a:lnTo>
                    <a:pt x="643958" y="195191"/>
                  </a:lnTo>
                  <a:lnTo>
                    <a:pt x="644442" y="195415"/>
                  </a:lnTo>
                  <a:cubicBezTo>
                    <a:pt x="648932" y="197487"/>
                    <a:pt x="654594" y="199234"/>
                    <a:pt x="661267" y="200609"/>
                  </a:cubicBezTo>
                  <a:cubicBezTo>
                    <a:pt x="667927" y="201985"/>
                    <a:pt x="673979" y="202684"/>
                    <a:pt x="679236" y="202684"/>
                  </a:cubicBezTo>
                  <a:cubicBezTo>
                    <a:pt x="695458" y="202684"/>
                    <a:pt x="708521" y="198845"/>
                    <a:pt x="718053" y="191265"/>
                  </a:cubicBezTo>
                  <a:cubicBezTo>
                    <a:pt x="727646" y="183633"/>
                    <a:pt x="732508" y="173458"/>
                    <a:pt x="732508" y="161012"/>
                  </a:cubicBezTo>
                  <a:cubicBezTo>
                    <a:pt x="732508" y="152034"/>
                    <a:pt x="729891" y="144335"/>
                    <a:pt x="724732" y="138126"/>
                  </a:cubicBezTo>
                  <a:cubicBezTo>
                    <a:pt x="719609" y="131967"/>
                    <a:pt x="710717" y="126313"/>
                    <a:pt x="698314" y="121315"/>
                  </a:cubicBezTo>
                  <a:cubicBezTo>
                    <a:pt x="688433" y="117352"/>
                    <a:pt x="682103" y="114062"/>
                    <a:pt x="679492" y="111536"/>
                  </a:cubicBezTo>
                  <a:cubicBezTo>
                    <a:pt x="676974" y="109096"/>
                    <a:pt x="675696" y="105646"/>
                    <a:pt x="675696" y="101276"/>
                  </a:cubicBezTo>
                  <a:cubicBezTo>
                    <a:pt x="675696" y="97403"/>
                    <a:pt x="677274" y="94299"/>
                    <a:pt x="680513" y="91786"/>
                  </a:cubicBezTo>
                  <a:cubicBezTo>
                    <a:pt x="683777" y="89261"/>
                    <a:pt x="688321" y="87976"/>
                    <a:pt x="694019" y="87976"/>
                  </a:cubicBezTo>
                  <a:cubicBezTo>
                    <a:pt x="699307" y="87976"/>
                    <a:pt x="704717" y="88811"/>
                    <a:pt x="710098" y="90447"/>
                  </a:cubicBezTo>
                  <a:cubicBezTo>
                    <a:pt x="715474" y="92083"/>
                    <a:pt x="720197" y="94274"/>
                    <a:pt x="724139" y="96954"/>
                  </a:cubicBezTo>
                  <a:lnTo>
                    <a:pt x="725435" y="97840"/>
                  </a:lnTo>
                  <a:lnTo>
                    <a:pt x="725435" y="68873"/>
                  </a:lnTo>
                  <a:lnTo>
                    <a:pt x="724937" y="68660"/>
                  </a:lnTo>
                  <a:cubicBezTo>
                    <a:pt x="721301" y="67101"/>
                    <a:pt x="716505" y="65767"/>
                    <a:pt x="710680" y="64685"/>
                  </a:cubicBezTo>
                  <a:cubicBezTo>
                    <a:pt x="704882" y="63610"/>
                    <a:pt x="699622" y="63067"/>
                    <a:pt x="695047" y="63067"/>
                  </a:cubicBezTo>
                  <a:moveTo>
                    <a:pt x="561225" y="176748"/>
                  </a:moveTo>
                  <a:cubicBezTo>
                    <a:pt x="549708" y="176748"/>
                    <a:pt x="540623" y="172931"/>
                    <a:pt x="534224" y="165412"/>
                  </a:cubicBezTo>
                  <a:cubicBezTo>
                    <a:pt x="527783" y="157854"/>
                    <a:pt x="524526" y="147083"/>
                    <a:pt x="524526" y="133391"/>
                  </a:cubicBezTo>
                  <a:cubicBezTo>
                    <a:pt x="524526" y="119267"/>
                    <a:pt x="527788" y="108214"/>
                    <a:pt x="534231" y="100523"/>
                  </a:cubicBezTo>
                  <a:cubicBezTo>
                    <a:pt x="540630" y="92883"/>
                    <a:pt x="549624" y="89005"/>
                    <a:pt x="560970" y="89005"/>
                  </a:cubicBezTo>
                  <a:cubicBezTo>
                    <a:pt x="571970" y="89005"/>
                    <a:pt x="580730" y="92708"/>
                    <a:pt x="587007" y="100018"/>
                  </a:cubicBezTo>
                  <a:cubicBezTo>
                    <a:pt x="593314" y="107366"/>
                    <a:pt x="596514" y="118331"/>
                    <a:pt x="596514" y="132619"/>
                  </a:cubicBezTo>
                  <a:cubicBezTo>
                    <a:pt x="596514" y="147083"/>
                    <a:pt x="593503" y="158193"/>
                    <a:pt x="587568" y="165625"/>
                  </a:cubicBezTo>
                  <a:cubicBezTo>
                    <a:pt x="581674" y="173001"/>
                    <a:pt x="572816" y="176748"/>
                    <a:pt x="561225" y="176748"/>
                  </a:cubicBezTo>
                  <a:moveTo>
                    <a:pt x="562639" y="63067"/>
                  </a:moveTo>
                  <a:cubicBezTo>
                    <a:pt x="540657" y="63067"/>
                    <a:pt x="523200" y="69503"/>
                    <a:pt x="510761" y="82196"/>
                  </a:cubicBezTo>
                  <a:cubicBezTo>
                    <a:pt x="498323" y="94890"/>
                    <a:pt x="492013" y="112457"/>
                    <a:pt x="492013" y="134413"/>
                  </a:cubicBezTo>
                  <a:cubicBezTo>
                    <a:pt x="492013" y="155275"/>
                    <a:pt x="498173" y="172041"/>
                    <a:pt x="510315" y="184262"/>
                  </a:cubicBezTo>
                  <a:cubicBezTo>
                    <a:pt x="522458" y="196486"/>
                    <a:pt x="538981" y="202679"/>
                    <a:pt x="559424" y="202679"/>
                  </a:cubicBezTo>
                  <a:cubicBezTo>
                    <a:pt x="580725" y="202679"/>
                    <a:pt x="597837" y="196153"/>
                    <a:pt x="610277" y="183285"/>
                  </a:cubicBezTo>
                  <a:cubicBezTo>
                    <a:pt x="622714" y="170430"/>
                    <a:pt x="629018" y="153029"/>
                    <a:pt x="629018" y="131586"/>
                  </a:cubicBezTo>
                  <a:cubicBezTo>
                    <a:pt x="629018" y="110406"/>
                    <a:pt x="623103" y="93507"/>
                    <a:pt x="611432" y="81368"/>
                  </a:cubicBezTo>
                  <a:cubicBezTo>
                    <a:pt x="599755" y="69223"/>
                    <a:pt x="583338" y="63067"/>
                    <a:pt x="562639" y="63067"/>
                  </a:cubicBezTo>
                  <a:moveTo>
                    <a:pt x="443838" y="89342"/>
                  </a:moveTo>
                  <a:lnTo>
                    <a:pt x="443838" y="66276"/>
                  </a:lnTo>
                  <a:lnTo>
                    <a:pt x="412488" y="66276"/>
                  </a:lnTo>
                  <a:lnTo>
                    <a:pt x="412488" y="199467"/>
                  </a:lnTo>
                  <a:lnTo>
                    <a:pt x="443838" y="199467"/>
                  </a:lnTo>
                  <a:lnTo>
                    <a:pt x="443838" y="131335"/>
                  </a:lnTo>
                  <a:cubicBezTo>
                    <a:pt x="443838" y="119750"/>
                    <a:pt x="446466" y="110232"/>
                    <a:pt x="451653" y="103043"/>
                  </a:cubicBezTo>
                  <a:cubicBezTo>
                    <a:pt x="456773" y="95940"/>
                    <a:pt x="463597" y="92340"/>
                    <a:pt x="471928" y="92340"/>
                  </a:cubicBezTo>
                  <a:cubicBezTo>
                    <a:pt x="474752" y="92340"/>
                    <a:pt x="477922" y="92805"/>
                    <a:pt x="481355" y="93726"/>
                  </a:cubicBezTo>
                  <a:cubicBezTo>
                    <a:pt x="484752" y="94641"/>
                    <a:pt x="487213" y="95635"/>
                    <a:pt x="488665" y="96680"/>
                  </a:cubicBezTo>
                  <a:lnTo>
                    <a:pt x="489982" y="97635"/>
                  </a:lnTo>
                  <a:lnTo>
                    <a:pt x="489982" y="66048"/>
                  </a:lnTo>
                  <a:lnTo>
                    <a:pt x="489475" y="65830"/>
                  </a:lnTo>
                  <a:cubicBezTo>
                    <a:pt x="486555" y="64591"/>
                    <a:pt x="482425" y="63965"/>
                    <a:pt x="477199" y="63965"/>
                  </a:cubicBezTo>
                  <a:cubicBezTo>
                    <a:pt x="469321" y="63965"/>
                    <a:pt x="462271" y="66495"/>
                    <a:pt x="456232" y="71476"/>
                  </a:cubicBezTo>
                  <a:cubicBezTo>
                    <a:pt x="450931" y="75854"/>
                    <a:pt x="447101" y="81857"/>
                    <a:pt x="444171" y="89342"/>
                  </a:cubicBezTo>
                  <a:lnTo>
                    <a:pt x="443838" y="89342"/>
                  </a:lnTo>
                  <a:close/>
                  <a:moveTo>
                    <a:pt x="356346" y="63067"/>
                  </a:moveTo>
                  <a:cubicBezTo>
                    <a:pt x="341963" y="63067"/>
                    <a:pt x="329134" y="66149"/>
                    <a:pt x="318223" y="72225"/>
                  </a:cubicBezTo>
                  <a:cubicBezTo>
                    <a:pt x="307288" y="78315"/>
                    <a:pt x="298832" y="87009"/>
                    <a:pt x="293079" y="98065"/>
                  </a:cubicBezTo>
                  <a:cubicBezTo>
                    <a:pt x="287351" y="109093"/>
                    <a:pt x="284442" y="121976"/>
                    <a:pt x="284442" y="136342"/>
                  </a:cubicBezTo>
                  <a:cubicBezTo>
                    <a:pt x="284442" y="148927"/>
                    <a:pt x="287262" y="160476"/>
                    <a:pt x="292835" y="170654"/>
                  </a:cubicBezTo>
                  <a:cubicBezTo>
                    <a:pt x="298412" y="180849"/>
                    <a:pt x="306304" y="188825"/>
                    <a:pt x="316295" y="194357"/>
                  </a:cubicBezTo>
                  <a:cubicBezTo>
                    <a:pt x="326271" y="199882"/>
                    <a:pt x="337802" y="202683"/>
                    <a:pt x="350568" y="202683"/>
                  </a:cubicBezTo>
                  <a:cubicBezTo>
                    <a:pt x="365467" y="202683"/>
                    <a:pt x="378187" y="199706"/>
                    <a:pt x="388386" y="193836"/>
                  </a:cubicBezTo>
                  <a:lnTo>
                    <a:pt x="388798" y="193600"/>
                  </a:lnTo>
                  <a:lnTo>
                    <a:pt x="388798" y="164896"/>
                  </a:lnTo>
                  <a:lnTo>
                    <a:pt x="387480" y="165857"/>
                  </a:lnTo>
                  <a:cubicBezTo>
                    <a:pt x="382861" y="169220"/>
                    <a:pt x="377698" y="171905"/>
                    <a:pt x="372143" y="173839"/>
                  </a:cubicBezTo>
                  <a:cubicBezTo>
                    <a:pt x="366602" y="175771"/>
                    <a:pt x="361550" y="176748"/>
                    <a:pt x="357120" y="176748"/>
                  </a:cubicBezTo>
                  <a:cubicBezTo>
                    <a:pt x="344819" y="176748"/>
                    <a:pt x="334944" y="172901"/>
                    <a:pt x="327776" y="165317"/>
                  </a:cubicBezTo>
                  <a:cubicBezTo>
                    <a:pt x="320592" y="157724"/>
                    <a:pt x="316950" y="147060"/>
                    <a:pt x="316950" y="133643"/>
                  </a:cubicBezTo>
                  <a:cubicBezTo>
                    <a:pt x="316950" y="120140"/>
                    <a:pt x="320748" y="109203"/>
                    <a:pt x="328234" y="101133"/>
                  </a:cubicBezTo>
                  <a:cubicBezTo>
                    <a:pt x="335698" y="93087"/>
                    <a:pt x="345591" y="89005"/>
                    <a:pt x="357638" y="89005"/>
                  </a:cubicBezTo>
                  <a:cubicBezTo>
                    <a:pt x="367942" y="89005"/>
                    <a:pt x="377983" y="92492"/>
                    <a:pt x="387483" y="99379"/>
                  </a:cubicBezTo>
                  <a:lnTo>
                    <a:pt x="388798" y="100333"/>
                  </a:lnTo>
                  <a:lnTo>
                    <a:pt x="388798" y="70089"/>
                  </a:lnTo>
                  <a:lnTo>
                    <a:pt x="388373" y="69850"/>
                  </a:lnTo>
                  <a:cubicBezTo>
                    <a:pt x="384798" y="67850"/>
                    <a:pt x="379923" y="66199"/>
                    <a:pt x="373870" y="64946"/>
                  </a:cubicBezTo>
                  <a:cubicBezTo>
                    <a:pt x="367842" y="63697"/>
                    <a:pt x="361947" y="63067"/>
                    <a:pt x="356346" y="63067"/>
                  </a:cubicBezTo>
                  <a:moveTo>
                    <a:pt x="262851" y="66277"/>
                  </a:moveTo>
                  <a:lnTo>
                    <a:pt x="231501" y="66277"/>
                  </a:lnTo>
                  <a:lnTo>
                    <a:pt x="231501" y="199467"/>
                  </a:lnTo>
                  <a:lnTo>
                    <a:pt x="262851" y="199467"/>
                  </a:lnTo>
                  <a:lnTo>
                    <a:pt x="262851" y="66277"/>
                  </a:lnTo>
                  <a:close/>
                  <a:moveTo>
                    <a:pt x="247497" y="9537"/>
                  </a:moveTo>
                  <a:cubicBezTo>
                    <a:pt x="242337" y="9537"/>
                    <a:pt x="237837" y="11293"/>
                    <a:pt x="234139" y="14771"/>
                  </a:cubicBezTo>
                  <a:cubicBezTo>
                    <a:pt x="230427" y="18260"/>
                    <a:pt x="228543" y="22652"/>
                    <a:pt x="228543" y="27835"/>
                  </a:cubicBezTo>
                  <a:cubicBezTo>
                    <a:pt x="228543" y="32937"/>
                    <a:pt x="230404" y="37249"/>
                    <a:pt x="234082" y="40645"/>
                  </a:cubicBezTo>
                  <a:cubicBezTo>
                    <a:pt x="237735" y="44030"/>
                    <a:pt x="242250" y="45746"/>
                    <a:pt x="247498" y="45746"/>
                  </a:cubicBezTo>
                  <a:cubicBezTo>
                    <a:pt x="252745" y="45746"/>
                    <a:pt x="257276" y="44030"/>
                    <a:pt x="260974" y="40650"/>
                  </a:cubicBezTo>
                  <a:cubicBezTo>
                    <a:pt x="264695" y="37249"/>
                    <a:pt x="266582" y="32938"/>
                    <a:pt x="266582" y="27835"/>
                  </a:cubicBezTo>
                  <a:cubicBezTo>
                    <a:pt x="266582" y="22833"/>
                    <a:pt x="264745" y="18486"/>
                    <a:pt x="261127" y="14912"/>
                  </a:cubicBezTo>
                  <a:cubicBezTo>
                    <a:pt x="257511" y="11345"/>
                    <a:pt x="252924" y="9537"/>
                    <a:pt x="247497" y="9537"/>
                  </a:cubicBezTo>
                  <a:moveTo>
                    <a:pt x="169276" y="56450"/>
                  </a:moveTo>
                  <a:lnTo>
                    <a:pt x="169276" y="199467"/>
                  </a:lnTo>
                  <a:lnTo>
                    <a:pt x="201270" y="199467"/>
                  </a:lnTo>
                  <a:lnTo>
                    <a:pt x="201270" y="13615"/>
                  </a:lnTo>
                  <a:lnTo>
                    <a:pt x="156989" y="13615"/>
                  </a:lnTo>
                  <a:lnTo>
                    <a:pt x="100705" y="151661"/>
                  </a:lnTo>
                  <a:lnTo>
                    <a:pt x="46084" y="13615"/>
                  </a:lnTo>
                  <a:lnTo>
                    <a:pt x="0" y="13615"/>
                  </a:lnTo>
                  <a:lnTo>
                    <a:pt x="0" y="199466"/>
                  </a:lnTo>
                  <a:lnTo>
                    <a:pt x="30066" y="199466"/>
                  </a:lnTo>
                  <a:lnTo>
                    <a:pt x="30066" y="56436"/>
                  </a:lnTo>
                  <a:lnTo>
                    <a:pt x="31098" y="56436"/>
                  </a:lnTo>
                  <a:lnTo>
                    <a:pt x="88776" y="199467"/>
                  </a:lnTo>
                  <a:lnTo>
                    <a:pt x="111466" y="199467"/>
                  </a:lnTo>
                  <a:lnTo>
                    <a:pt x="168244" y="56450"/>
                  </a:lnTo>
                  <a:lnTo>
                    <a:pt x="169276" y="56450"/>
                  </a:lnTo>
                  <a:close/>
                </a:path>
              </a:pathLst>
            </a:custGeom>
            <a:solidFill>
              <a:schemeClr val="bg1"/>
            </a:solidFill>
            <a:ln w="1400"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8BB535C1-6153-4610-909A-68BC68DCC07F}"/>
                </a:ext>
              </a:extLst>
            </p:cNvPr>
            <p:cNvSpPr/>
            <p:nvPr/>
          </p:nvSpPr>
          <p:spPr>
            <a:xfrm>
              <a:off x="419101" y="419787"/>
              <a:ext cx="147479" cy="147387"/>
            </a:xfrm>
            <a:custGeom>
              <a:avLst/>
              <a:gdLst>
                <a:gd name="connsiteX0" fmla="*/ 147480 w 147479"/>
                <a:gd name="connsiteY0" fmla="*/ 147388 h 147387"/>
                <a:gd name="connsiteX1" fmla="*/ 0 w 147479"/>
                <a:gd name="connsiteY1" fmla="*/ 147388 h 147387"/>
                <a:gd name="connsiteX2" fmla="*/ 0 w 147479"/>
                <a:gd name="connsiteY2" fmla="*/ 0 h 147387"/>
                <a:gd name="connsiteX3" fmla="*/ 147480 w 147479"/>
                <a:gd name="connsiteY3" fmla="*/ 0 h 147387"/>
                <a:gd name="connsiteX4" fmla="*/ 147480 w 147479"/>
                <a:gd name="connsiteY4" fmla="*/ 147388 h 147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479" h="147387">
                  <a:moveTo>
                    <a:pt x="147480" y="147388"/>
                  </a:moveTo>
                  <a:lnTo>
                    <a:pt x="0" y="147388"/>
                  </a:lnTo>
                  <a:lnTo>
                    <a:pt x="0" y="0"/>
                  </a:lnTo>
                  <a:lnTo>
                    <a:pt x="147480" y="0"/>
                  </a:lnTo>
                  <a:lnTo>
                    <a:pt x="147480" y="147388"/>
                  </a:lnTo>
                  <a:close/>
                </a:path>
              </a:pathLst>
            </a:custGeom>
            <a:solidFill>
              <a:srgbClr val="F1511B"/>
            </a:solidFill>
            <a:ln w="1400"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E5181F55-E1DD-4E40-8A3D-1142F7AAA1CC}"/>
                </a:ext>
              </a:extLst>
            </p:cNvPr>
            <p:cNvSpPr/>
            <p:nvPr/>
          </p:nvSpPr>
          <p:spPr>
            <a:xfrm>
              <a:off x="581937" y="419787"/>
              <a:ext cx="147476" cy="147387"/>
            </a:xfrm>
            <a:custGeom>
              <a:avLst/>
              <a:gdLst>
                <a:gd name="connsiteX0" fmla="*/ 147477 w 147476"/>
                <a:gd name="connsiteY0" fmla="*/ 147388 h 147387"/>
                <a:gd name="connsiteX1" fmla="*/ 0 w 147476"/>
                <a:gd name="connsiteY1" fmla="*/ 147388 h 147387"/>
                <a:gd name="connsiteX2" fmla="*/ 0 w 147476"/>
                <a:gd name="connsiteY2" fmla="*/ 0 h 147387"/>
                <a:gd name="connsiteX3" fmla="*/ 147477 w 147476"/>
                <a:gd name="connsiteY3" fmla="*/ 0 h 147387"/>
                <a:gd name="connsiteX4" fmla="*/ 147477 w 147476"/>
                <a:gd name="connsiteY4" fmla="*/ 147388 h 147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476" h="147387">
                  <a:moveTo>
                    <a:pt x="147477" y="147388"/>
                  </a:moveTo>
                  <a:lnTo>
                    <a:pt x="0" y="147388"/>
                  </a:lnTo>
                  <a:lnTo>
                    <a:pt x="0" y="0"/>
                  </a:lnTo>
                  <a:lnTo>
                    <a:pt x="147477" y="0"/>
                  </a:lnTo>
                  <a:lnTo>
                    <a:pt x="147477" y="147388"/>
                  </a:lnTo>
                  <a:close/>
                </a:path>
              </a:pathLst>
            </a:custGeom>
            <a:solidFill>
              <a:srgbClr val="80CC28"/>
            </a:solidFill>
            <a:ln w="1400"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601BD9AE-7DE2-46EE-9D2B-DB1490A3E242}"/>
                </a:ext>
              </a:extLst>
            </p:cNvPr>
            <p:cNvSpPr/>
            <p:nvPr/>
          </p:nvSpPr>
          <p:spPr>
            <a:xfrm>
              <a:off x="419101" y="582578"/>
              <a:ext cx="147475" cy="147386"/>
            </a:xfrm>
            <a:custGeom>
              <a:avLst/>
              <a:gdLst>
                <a:gd name="connsiteX0" fmla="*/ 147475 w 147475"/>
                <a:gd name="connsiteY0" fmla="*/ 147387 h 147386"/>
                <a:gd name="connsiteX1" fmla="*/ 0 w 147475"/>
                <a:gd name="connsiteY1" fmla="*/ 147387 h 147386"/>
                <a:gd name="connsiteX2" fmla="*/ 0 w 147475"/>
                <a:gd name="connsiteY2" fmla="*/ 0 h 147386"/>
                <a:gd name="connsiteX3" fmla="*/ 147475 w 147475"/>
                <a:gd name="connsiteY3" fmla="*/ 0 h 147386"/>
                <a:gd name="connsiteX4" fmla="*/ 147475 w 147475"/>
                <a:gd name="connsiteY4" fmla="*/ 147387 h 1473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475" h="147386">
                  <a:moveTo>
                    <a:pt x="147475" y="147387"/>
                  </a:moveTo>
                  <a:lnTo>
                    <a:pt x="0" y="147387"/>
                  </a:lnTo>
                  <a:lnTo>
                    <a:pt x="0" y="0"/>
                  </a:lnTo>
                  <a:lnTo>
                    <a:pt x="147475" y="0"/>
                  </a:lnTo>
                  <a:lnTo>
                    <a:pt x="147475" y="147387"/>
                  </a:lnTo>
                  <a:close/>
                </a:path>
              </a:pathLst>
            </a:custGeom>
            <a:solidFill>
              <a:srgbClr val="00ADEF"/>
            </a:solidFill>
            <a:ln w="1400" cap="flat">
              <a:noFill/>
              <a:prstDash val="solid"/>
              <a:miter/>
            </a:ln>
          </p:spPr>
          <p:txBody>
            <a:bodyPr rtlCol="0" anchor="ctr"/>
            <a:lstStyle/>
            <a:p>
              <a:endParaRPr lang="en-US"/>
            </a:p>
          </p:txBody>
        </p:sp>
        <p:sp>
          <p:nvSpPr>
            <p:cNvPr id="50" name="Freeform: Shape 49">
              <a:extLst>
                <a:ext uri="{FF2B5EF4-FFF2-40B4-BE49-F238E27FC236}">
                  <a16:creationId xmlns:a16="http://schemas.microsoft.com/office/drawing/2014/main" id="{6F52E212-369A-4837-A08A-889901C34DC8}"/>
                </a:ext>
              </a:extLst>
            </p:cNvPr>
            <p:cNvSpPr/>
            <p:nvPr/>
          </p:nvSpPr>
          <p:spPr>
            <a:xfrm>
              <a:off x="581937" y="582578"/>
              <a:ext cx="147476" cy="147386"/>
            </a:xfrm>
            <a:custGeom>
              <a:avLst/>
              <a:gdLst>
                <a:gd name="connsiteX0" fmla="*/ 147477 w 147476"/>
                <a:gd name="connsiteY0" fmla="*/ 147387 h 147386"/>
                <a:gd name="connsiteX1" fmla="*/ 0 w 147476"/>
                <a:gd name="connsiteY1" fmla="*/ 147387 h 147386"/>
                <a:gd name="connsiteX2" fmla="*/ 0 w 147476"/>
                <a:gd name="connsiteY2" fmla="*/ 0 h 147386"/>
                <a:gd name="connsiteX3" fmla="*/ 147477 w 147476"/>
                <a:gd name="connsiteY3" fmla="*/ 0 h 147386"/>
                <a:gd name="connsiteX4" fmla="*/ 147477 w 147476"/>
                <a:gd name="connsiteY4" fmla="*/ 147387 h 1473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476" h="147386">
                  <a:moveTo>
                    <a:pt x="147477" y="147387"/>
                  </a:moveTo>
                  <a:lnTo>
                    <a:pt x="0" y="147387"/>
                  </a:lnTo>
                  <a:lnTo>
                    <a:pt x="0" y="0"/>
                  </a:lnTo>
                  <a:lnTo>
                    <a:pt x="147477" y="0"/>
                  </a:lnTo>
                  <a:lnTo>
                    <a:pt x="147477" y="147387"/>
                  </a:lnTo>
                  <a:close/>
                </a:path>
              </a:pathLst>
            </a:custGeom>
            <a:solidFill>
              <a:srgbClr val="FBBC09"/>
            </a:solidFill>
            <a:ln w="1400" cap="flat">
              <a:noFill/>
              <a:prstDash val="solid"/>
              <a:miter/>
            </a:ln>
          </p:spPr>
          <p:txBody>
            <a:bodyPr rtlCol="0" anchor="ctr"/>
            <a:lstStyle/>
            <a:p>
              <a:endParaRPr lang="en-US"/>
            </a:p>
          </p:txBody>
        </p:sp>
      </p:grpSp>
    </p:spTree>
    <p:extLst>
      <p:ext uri="{BB962C8B-B14F-4D97-AF65-F5344CB8AC3E}">
        <p14:creationId xmlns:p14="http://schemas.microsoft.com/office/powerpoint/2010/main" val="4125527398"/>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548443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Section DIvider">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A2E5142-58C3-466C-8712-90A4ABB7E20E}"/>
              </a:ext>
            </a:extLst>
          </p:cNvPr>
          <p:cNvSpPr/>
          <p:nvPr/>
        </p:nvSpPr>
        <p:spPr bwMode="auto">
          <a:xfrm>
            <a:off x="0" y="0"/>
            <a:ext cx="12192000" cy="68580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indent="-285750" algn="l">
              <a:lnSpc>
                <a:spcPct val="107000"/>
              </a:lnSpc>
              <a:spcBef>
                <a:spcPts val="0"/>
              </a:spcBef>
              <a:spcAft>
                <a:spcPts val="800"/>
              </a:spcAft>
              <a:buFont typeface="Arial" panose="020B0604020202020204" pitchFamily="34" charset="0"/>
              <a:buChar char="•"/>
            </a:pPr>
            <a:endParaRPr lang="en-IN" sz="180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
        <p:nvSpPr>
          <p:cNvPr id="9" name="Rectangle: Rounded Corners 8">
            <a:extLst>
              <a:ext uri="{FF2B5EF4-FFF2-40B4-BE49-F238E27FC236}">
                <a16:creationId xmlns:a16="http://schemas.microsoft.com/office/drawing/2014/main" id="{AD2DD0AC-B61D-482B-AA38-DDEFCC70FAEC}"/>
              </a:ext>
            </a:extLst>
          </p:cNvPr>
          <p:cNvSpPr/>
          <p:nvPr/>
        </p:nvSpPr>
        <p:spPr bwMode="auto">
          <a:xfrm>
            <a:off x="419100" y="444500"/>
            <a:ext cx="11353800" cy="5969000"/>
          </a:xfrm>
          <a:prstGeom prst="roundRect">
            <a:avLst>
              <a:gd name="adj" fmla="val 6258"/>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indent="-285750" algn="l">
              <a:lnSpc>
                <a:spcPct val="107000"/>
              </a:lnSpc>
              <a:spcBef>
                <a:spcPts val="0"/>
              </a:spcBef>
              <a:spcAft>
                <a:spcPts val="800"/>
              </a:spcAft>
              <a:buFont typeface="Arial" panose="020B0604020202020204" pitchFamily="34" charset="0"/>
              <a:buChar char="•"/>
            </a:pPr>
            <a:endParaRPr lang="en-IN" sz="180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pic>
        <p:nvPicPr>
          <p:cNvPr id="12" name="Graphic 11">
            <a:extLst>
              <a:ext uri="{FF2B5EF4-FFF2-40B4-BE49-F238E27FC236}">
                <a16:creationId xmlns:a16="http://schemas.microsoft.com/office/drawing/2014/main" id="{44C251EC-73C1-45A4-9F4F-8C5A9ED4F8FB}"/>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54380" y="805633"/>
            <a:ext cx="1303020" cy="278326"/>
          </a:xfrm>
          <a:prstGeom prst="rect">
            <a:avLst/>
          </a:prstGeom>
        </p:spPr>
      </p:pic>
      <p:sp>
        <p:nvSpPr>
          <p:cNvPr id="14" name="object 33">
            <a:extLst>
              <a:ext uri="{FF2B5EF4-FFF2-40B4-BE49-F238E27FC236}">
                <a16:creationId xmlns:a16="http://schemas.microsoft.com/office/drawing/2014/main" id="{2AFD2A00-0110-4A41-A940-3F7F1D9A66B2}"/>
              </a:ext>
            </a:extLst>
          </p:cNvPr>
          <p:cNvSpPr txBox="1">
            <a:spLocks/>
          </p:cNvSpPr>
          <p:nvPr/>
        </p:nvSpPr>
        <p:spPr>
          <a:xfrm>
            <a:off x="4872567" y="6586451"/>
            <a:ext cx="2446867" cy="173124"/>
          </a:xfrm>
          <a:prstGeom prst="rect">
            <a:avLst/>
          </a:prstGeom>
        </p:spPr>
        <p:txBody>
          <a:bodyPr vert="horz" wrap="square" lIns="0" tIns="19050" rIns="0" bIns="0" rtlCol="0">
            <a:spAutoFit/>
          </a:bodyPr>
          <a:lstStyle>
            <a:defPPr>
              <a:defRPr lang="en-US"/>
            </a:defPPr>
            <a:lvl1pPr marL="0" algn="l" defTabSz="914400" rtl="0" eaLnBrk="1" latinLnBrk="0" hangingPunct="1">
              <a:defRPr sz="800" b="0" i="0" kern="1200">
                <a:solidFill>
                  <a:srgbClr val="3C3C41"/>
                </a:solidFill>
                <a:latin typeface="Segoe Pro"/>
                <a:ea typeface="+mn-ea"/>
                <a:cs typeface="Segoe Pro"/>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0" algn="ctr">
              <a:spcBef>
                <a:spcPts val="150"/>
              </a:spcBef>
            </a:pPr>
            <a:r>
              <a:rPr lang="en-US" sz="1000" kern="100">
                <a:solidFill>
                  <a:schemeClr val="tx1">
                    <a:lumMod val="50000"/>
                    <a:lumOff val="50000"/>
                  </a:schemeClr>
                </a:solidFill>
                <a:latin typeface="Segoe UI" panose="020B0502040204020203" pitchFamily="34" charset="0"/>
                <a:cs typeface="Segoe UI" panose="020B0502040204020203" pitchFamily="34" charset="0"/>
              </a:rPr>
              <a:t>Microsoft confidential.</a:t>
            </a:r>
          </a:p>
        </p:txBody>
      </p:sp>
      <p:sp>
        <p:nvSpPr>
          <p:cNvPr id="16" name="Text Placeholder 15">
            <a:extLst>
              <a:ext uri="{FF2B5EF4-FFF2-40B4-BE49-F238E27FC236}">
                <a16:creationId xmlns:a16="http://schemas.microsoft.com/office/drawing/2014/main" id="{6EAFB365-02C6-4297-8EF2-5B013F6D2EBD}"/>
              </a:ext>
            </a:extLst>
          </p:cNvPr>
          <p:cNvSpPr>
            <a:spLocks noGrp="1"/>
          </p:cNvSpPr>
          <p:nvPr>
            <p:ph type="body" sz="quarter" idx="10" hasCustomPrompt="1"/>
          </p:nvPr>
        </p:nvSpPr>
        <p:spPr>
          <a:xfrm>
            <a:off x="754063" y="2506532"/>
            <a:ext cx="5341937" cy="1584325"/>
          </a:xfrm>
        </p:spPr>
        <p:txBody>
          <a:bodyPr anchor="ctr"/>
          <a:lstStyle>
            <a:lvl1pPr>
              <a:defRPr sz="4400">
                <a:latin typeface="+mj-lt"/>
              </a:defRPr>
            </a:lvl1pPr>
          </a:lstStyle>
          <a:p>
            <a:pPr lvl="0"/>
            <a:r>
              <a:rPr lang="en-US"/>
              <a:t>Click to add text</a:t>
            </a:r>
          </a:p>
        </p:txBody>
      </p:sp>
      <p:grpSp>
        <p:nvGrpSpPr>
          <p:cNvPr id="4" name="Group 3">
            <a:extLst>
              <a:ext uri="{FF2B5EF4-FFF2-40B4-BE49-F238E27FC236}">
                <a16:creationId xmlns:a16="http://schemas.microsoft.com/office/drawing/2014/main" id="{BDB92E3D-13FE-4338-B3F6-3524B1D0956C}"/>
              </a:ext>
            </a:extLst>
          </p:cNvPr>
          <p:cNvGrpSpPr/>
          <p:nvPr/>
        </p:nvGrpSpPr>
        <p:grpSpPr>
          <a:xfrm>
            <a:off x="7732586" y="864277"/>
            <a:ext cx="3917891" cy="5741042"/>
            <a:chOff x="7732586" y="864277"/>
            <a:chExt cx="3917891" cy="5741042"/>
          </a:xfrm>
        </p:grpSpPr>
        <p:sp>
          <p:nvSpPr>
            <p:cNvPr id="15" name="Rectangle: Rounded Corners 14">
              <a:extLst>
                <a:ext uri="{FF2B5EF4-FFF2-40B4-BE49-F238E27FC236}">
                  <a16:creationId xmlns:a16="http://schemas.microsoft.com/office/drawing/2014/main" id="{81CDB933-DDC5-4675-A6B0-6ACDC4ADDDC3}"/>
                </a:ext>
              </a:extLst>
            </p:cNvPr>
            <p:cNvSpPr/>
            <p:nvPr/>
          </p:nvSpPr>
          <p:spPr bwMode="auto">
            <a:xfrm rot="8101561">
              <a:off x="7732586" y="2276892"/>
              <a:ext cx="1764602" cy="4202286"/>
            </a:xfrm>
            <a:prstGeom prst="roundRect">
              <a:avLst>
                <a:gd name="adj" fmla="val 50000"/>
              </a:avLst>
            </a:prstGeom>
            <a:solidFill>
              <a:schemeClr val="accent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indent="-285750" algn="l">
                <a:lnSpc>
                  <a:spcPct val="107000"/>
                </a:lnSpc>
                <a:spcBef>
                  <a:spcPts val="0"/>
                </a:spcBef>
                <a:spcAft>
                  <a:spcPts val="800"/>
                </a:spcAft>
                <a:buFont typeface="Arial" panose="020B0604020202020204" pitchFamily="34" charset="0"/>
                <a:buChar char="•"/>
              </a:pPr>
              <a:endParaRPr lang="en-US" sz="180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grpSp>
          <p:nvGrpSpPr>
            <p:cNvPr id="3" name="Group 2">
              <a:extLst>
                <a:ext uri="{FF2B5EF4-FFF2-40B4-BE49-F238E27FC236}">
                  <a16:creationId xmlns:a16="http://schemas.microsoft.com/office/drawing/2014/main" id="{8DB29C06-2C53-40D2-8E3C-2457917D0F11}"/>
                </a:ext>
              </a:extLst>
            </p:cNvPr>
            <p:cNvGrpSpPr/>
            <p:nvPr/>
          </p:nvGrpSpPr>
          <p:grpSpPr>
            <a:xfrm>
              <a:off x="8102890" y="864277"/>
              <a:ext cx="3547587" cy="5741042"/>
              <a:chOff x="8102890" y="864277"/>
              <a:chExt cx="3547587" cy="5741042"/>
            </a:xfrm>
          </p:grpSpPr>
          <p:sp>
            <p:nvSpPr>
              <p:cNvPr id="20" name="Freeform: Shape 19">
                <a:extLst>
                  <a:ext uri="{FF2B5EF4-FFF2-40B4-BE49-F238E27FC236}">
                    <a16:creationId xmlns:a16="http://schemas.microsoft.com/office/drawing/2014/main" id="{6E1D9D07-F1B0-43E7-80FF-DDD6AB24D1F8}"/>
                  </a:ext>
                </a:extLst>
              </p:cNvPr>
              <p:cNvSpPr/>
              <p:nvPr/>
            </p:nvSpPr>
            <p:spPr bwMode="auto">
              <a:xfrm rot="2433989">
                <a:off x="9926917" y="864277"/>
                <a:ext cx="1723560" cy="5741042"/>
              </a:xfrm>
              <a:custGeom>
                <a:avLst/>
                <a:gdLst>
                  <a:gd name="connsiteX0" fmla="*/ 251654 w 1723560"/>
                  <a:gd name="connsiteY0" fmla="*/ 0 h 5741042"/>
                  <a:gd name="connsiteX1" fmla="*/ 1723560 w 1723560"/>
                  <a:gd name="connsiteY1" fmla="*/ 1719338 h 5741042"/>
                  <a:gd name="connsiteX2" fmla="*/ 1723559 w 1723560"/>
                  <a:gd name="connsiteY2" fmla="*/ 4879261 h 5741042"/>
                  <a:gd name="connsiteX3" fmla="*/ 861779 w 1723560"/>
                  <a:gd name="connsiteY3" fmla="*/ 5741042 h 5741042"/>
                  <a:gd name="connsiteX4" fmla="*/ 861780 w 1723560"/>
                  <a:gd name="connsiteY4" fmla="*/ 5741040 h 5741042"/>
                  <a:gd name="connsiteX5" fmla="*/ 0 w 1723560"/>
                  <a:gd name="connsiteY5" fmla="*/ 4879260 h 5741042"/>
                  <a:gd name="connsiteX6" fmla="*/ 0 w 1723560"/>
                  <a:gd name="connsiteY6" fmla="*/ 608539 h 5741042"/>
                  <a:gd name="connsiteX7" fmla="*/ 196788 w 1723560"/>
                  <a:gd name="connsiteY7" fmla="*/ 60367 h 5741042"/>
                  <a:gd name="connsiteX8" fmla="*/ 251654 w 1723560"/>
                  <a:gd name="connsiteY8" fmla="*/ 0 h 5741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23560" h="5741042">
                    <a:moveTo>
                      <a:pt x="251654" y="0"/>
                    </a:moveTo>
                    <a:lnTo>
                      <a:pt x="1723560" y="1719338"/>
                    </a:lnTo>
                    <a:lnTo>
                      <a:pt x="1723559" y="4879261"/>
                    </a:lnTo>
                    <a:cubicBezTo>
                      <a:pt x="1723559" y="5355209"/>
                      <a:pt x="1337727" y="5741041"/>
                      <a:pt x="861779" y="5741042"/>
                    </a:cubicBezTo>
                    <a:lnTo>
                      <a:pt x="861780" y="5741040"/>
                    </a:lnTo>
                    <a:cubicBezTo>
                      <a:pt x="385832" y="5741040"/>
                      <a:pt x="0" y="5355208"/>
                      <a:pt x="0" y="4879260"/>
                    </a:cubicBezTo>
                    <a:lnTo>
                      <a:pt x="0" y="608539"/>
                    </a:lnTo>
                    <a:cubicBezTo>
                      <a:pt x="0" y="400312"/>
                      <a:pt x="73850" y="209333"/>
                      <a:pt x="196788" y="60367"/>
                    </a:cubicBezTo>
                    <a:lnTo>
                      <a:pt x="251654" y="0"/>
                    </a:lnTo>
                    <a:close/>
                  </a:path>
                </a:pathLst>
              </a:custGeom>
              <a:solidFill>
                <a:schemeClr val="accent5"/>
              </a:solidFill>
              <a:ln>
                <a:noFill/>
                <a:headEnd type="none" w="med" len="med"/>
                <a:tailEnd type="none" w="med" len="med"/>
              </a:ln>
              <a:effectLst>
                <a:outerShdw blurRad="50800" dist="25400" dir="2700000" algn="tl" rotWithShape="0">
                  <a:prstClr val="black">
                    <a:alpha val="14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indent="-285750" algn="l">
                  <a:lnSpc>
                    <a:spcPct val="107000"/>
                  </a:lnSpc>
                  <a:spcBef>
                    <a:spcPts val="0"/>
                  </a:spcBef>
                  <a:spcAft>
                    <a:spcPts val="800"/>
                  </a:spcAft>
                  <a:buFont typeface="Arial" panose="020B0604020202020204" pitchFamily="34" charset="0"/>
                  <a:buChar char="•"/>
                </a:pPr>
                <a:endParaRPr lang="en-US" sz="180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
            <p:nvSpPr>
              <p:cNvPr id="17" name="Oval 16">
                <a:extLst>
                  <a:ext uri="{FF2B5EF4-FFF2-40B4-BE49-F238E27FC236}">
                    <a16:creationId xmlns:a16="http://schemas.microsoft.com/office/drawing/2014/main" id="{66A9FB76-298D-492B-8CF0-B92F9FE4AD56}"/>
                  </a:ext>
                </a:extLst>
              </p:cNvPr>
              <p:cNvSpPr/>
              <p:nvPr/>
            </p:nvSpPr>
            <p:spPr bwMode="auto">
              <a:xfrm>
                <a:off x="8606141" y="4355018"/>
                <a:ext cx="1769743" cy="1769263"/>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indent="-285750" algn="l">
                  <a:lnSpc>
                    <a:spcPct val="107000"/>
                  </a:lnSpc>
                  <a:spcBef>
                    <a:spcPts val="0"/>
                  </a:spcBef>
                  <a:spcAft>
                    <a:spcPts val="800"/>
                  </a:spcAft>
                  <a:buFont typeface="Arial" panose="020B0604020202020204" pitchFamily="34" charset="0"/>
                  <a:buChar char="•"/>
                </a:pPr>
                <a:endParaRPr lang="en-US" sz="180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
            <p:nvSpPr>
              <p:cNvPr id="18" name="Freeform: Shape 17">
                <a:extLst>
                  <a:ext uri="{FF2B5EF4-FFF2-40B4-BE49-F238E27FC236}">
                    <a16:creationId xmlns:a16="http://schemas.microsoft.com/office/drawing/2014/main" id="{1C0FA65E-ECB0-41EA-A5C9-13E807D05823}"/>
                  </a:ext>
                </a:extLst>
              </p:cNvPr>
              <p:cNvSpPr/>
              <p:nvPr/>
            </p:nvSpPr>
            <p:spPr bwMode="auto">
              <a:xfrm>
                <a:off x="8102890" y="881765"/>
                <a:ext cx="1745614" cy="1747904"/>
              </a:xfrm>
              <a:custGeom>
                <a:avLst/>
                <a:gdLst>
                  <a:gd name="connsiteX0" fmla="*/ 752475 w 1504950"/>
                  <a:gd name="connsiteY0" fmla="*/ 0 h 1504950"/>
                  <a:gd name="connsiteX1" fmla="*/ 1504950 w 1504950"/>
                  <a:gd name="connsiteY1" fmla="*/ 752475 h 1504950"/>
                  <a:gd name="connsiteX2" fmla="*/ 752475 w 1504950"/>
                  <a:gd name="connsiteY2" fmla="*/ 1504950 h 1504950"/>
                  <a:gd name="connsiteX3" fmla="*/ 0 w 1504950"/>
                  <a:gd name="connsiteY3" fmla="*/ 752475 h 1504950"/>
                  <a:gd name="connsiteX4" fmla="*/ 752475 w 1504950"/>
                  <a:gd name="connsiteY4" fmla="*/ 0 h 1504950"/>
                  <a:gd name="connsiteX5" fmla="*/ 752475 w 1504950"/>
                  <a:gd name="connsiteY5" fmla="*/ 177119 h 1504950"/>
                  <a:gd name="connsiteX6" fmla="*/ 177119 w 1504950"/>
                  <a:gd name="connsiteY6" fmla="*/ 752475 h 1504950"/>
                  <a:gd name="connsiteX7" fmla="*/ 752475 w 1504950"/>
                  <a:gd name="connsiteY7" fmla="*/ 1327831 h 1504950"/>
                  <a:gd name="connsiteX8" fmla="*/ 1327831 w 1504950"/>
                  <a:gd name="connsiteY8" fmla="*/ 752475 h 1504950"/>
                  <a:gd name="connsiteX9" fmla="*/ 752475 w 1504950"/>
                  <a:gd name="connsiteY9" fmla="*/ 177119 h 1504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04950" h="1504950">
                    <a:moveTo>
                      <a:pt x="752475" y="0"/>
                    </a:moveTo>
                    <a:cubicBezTo>
                      <a:pt x="1168055" y="0"/>
                      <a:pt x="1504950" y="336895"/>
                      <a:pt x="1504950" y="752475"/>
                    </a:cubicBezTo>
                    <a:cubicBezTo>
                      <a:pt x="1504950" y="1168055"/>
                      <a:pt x="1168055" y="1504950"/>
                      <a:pt x="752475" y="1504950"/>
                    </a:cubicBezTo>
                    <a:cubicBezTo>
                      <a:pt x="336895" y="1504950"/>
                      <a:pt x="0" y="1168055"/>
                      <a:pt x="0" y="752475"/>
                    </a:cubicBezTo>
                    <a:cubicBezTo>
                      <a:pt x="0" y="336895"/>
                      <a:pt x="336895" y="0"/>
                      <a:pt x="752475" y="0"/>
                    </a:cubicBezTo>
                    <a:close/>
                    <a:moveTo>
                      <a:pt x="752475" y="177119"/>
                    </a:moveTo>
                    <a:cubicBezTo>
                      <a:pt x="434715" y="177119"/>
                      <a:pt x="177119" y="434715"/>
                      <a:pt x="177119" y="752475"/>
                    </a:cubicBezTo>
                    <a:cubicBezTo>
                      <a:pt x="177119" y="1070235"/>
                      <a:pt x="434715" y="1327831"/>
                      <a:pt x="752475" y="1327831"/>
                    </a:cubicBezTo>
                    <a:cubicBezTo>
                      <a:pt x="1070235" y="1327831"/>
                      <a:pt x="1327831" y="1070235"/>
                      <a:pt x="1327831" y="752475"/>
                    </a:cubicBezTo>
                    <a:cubicBezTo>
                      <a:pt x="1327831" y="434715"/>
                      <a:pt x="1070235" y="177119"/>
                      <a:pt x="752475" y="177119"/>
                    </a:cubicBez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nSpc>
                    <a:spcPct val="107000"/>
                  </a:lnSpc>
                  <a:spcBef>
                    <a:spcPts val="0"/>
                  </a:spcBef>
                  <a:spcAft>
                    <a:spcPts val="800"/>
                  </a:spcAft>
                  <a:buFont typeface="Arial" panose="020B0604020202020204" pitchFamily="34" charset="0"/>
                  <a:buChar char="•"/>
                </a:pPr>
                <a:endParaRPr lang="en-US"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grpSp>
      </p:grpSp>
    </p:spTree>
    <p:extLst>
      <p:ext uri="{BB962C8B-B14F-4D97-AF65-F5344CB8AC3E}">
        <p14:creationId xmlns:p14="http://schemas.microsoft.com/office/powerpoint/2010/main" val="534594055"/>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Section DIvider_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BBF8385-AF4D-4550-9B61-72202B76D736}"/>
              </a:ext>
            </a:extLst>
          </p:cNvPr>
          <p:cNvSpPr/>
          <p:nvPr/>
        </p:nvSpPr>
        <p:spPr bwMode="auto">
          <a:xfrm>
            <a:off x="0" y="0"/>
            <a:ext cx="12192000" cy="68580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indent="-285750" algn="l">
              <a:lnSpc>
                <a:spcPct val="107000"/>
              </a:lnSpc>
              <a:spcBef>
                <a:spcPts val="0"/>
              </a:spcBef>
              <a:spcAft>
                <a:spcPts val="800"/>
              </a:spcAft>
              <a:buFont typeface="Arial" panose="020B0604020202020204" pitchFamily="34" charset="0"/>
              <a:buChar char="•"/>
            </a:pPr>
            <a:endParaRPr lang="en-IN" sz="180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
        <p:nvSpPr>
          <p:cNvPr id="4" name="Rectangle 3">
            <a:extLst>
              <a:ext uri="{FF2B5EF4-FFF2-40B4-BE49-F238E27FC236}">
                <a16:creationId xmlns:a16="http://schemas.microsoft.com/office/drawing/2014/main" id="{C2711764-52DC-471A-968F-97E3459D10BF}"/>
              </a:ext>
            </a:extLst>
          </p:cNvPr>
          <p:cNvSpPr/>
          <p:nvPr/>
        </p:nvSpPr>
        <p:spPr bwMode="auto">
          <a:xfrm>
            <a:off x="3325615" y="1899606"/>
            <a:ext cx="8866386" cy="3058788"/>
          </a:xfrm>
          <a:prstGeom prst="rect">
            <a:avLst/>
          </a:prstGeom>
          <a:solidFill>
            <a:schemeClr val="tx1">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indent="-285750" algn="l">
              <a:lnSpc>
                <a:spcPct val="107000"/>
              </a:lnSpc>
              <a:spcBef>
                <a:spcPts val="0"/>
              </a:spcBef>
              <a:spcAft>
                <a:spcPts val="800"/>
              </a:spcAft>
              <a:buFont typeface="Arial" panose="020B0604020202020204" pitchFamily="34" charset="0"/>
              <a:buChar char="•"/>
            </a:pPr>
            <a:endParaRPr lang="en-IN" sz="180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pic>
        <p:nvPicPr>
          <p:cNvPr id="8" name="Graphic 7">
            <a:extLst>
              <a:ext uri="{FF2B5EF4-FFF2-40B4-BE49-F238E27FC236}">
                <a16:creationId xmlns:a16="http://schemas.microsoft.com/office/drawing/2014/main" id="{3EFF4555-5F2D-48CA-B338-3C6433FAA699}"/>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502095" y="444500"/>
            <a:ext cx="1270805" cy="271445"/>
          </a:xfrm>
          <a:prstGeom prst="rect">
            <a:avLst/>
          </a:prstGeom>
        </p:spPr>
      </p:pic>
      <p:sp>
        <p:nvSpPr>
          <p:cNvPr id="10" name="object 33">
            <a:extLst>
              <a:ext uri="{FF2B5EF4-FFF2-40B4-BE49-F238E27FC236}">
                <a16:creationId xmlns:a16="http://schemas.microsoft.com/office/drawing/2014/main" id="{B73917AA-3F8B-4A5E-AE02-96FCB525E853}"/>
              </a:ext>
            </a:extLst>
          </p:cNvPr>
          <p:cNvSpPr txBox="1">
            <a:spLocks/>
          </p:cNvSpPr>
          <p:nvPr/>
        </p:nvSpPr>
        <p:spPr>
          <a:xfrm>
            <a:off x="4872567" y="6586451"/>
            <a:ext cx="2446867" cy="173124"/>
          </a:xfrm>
          <a:prstGeom prst="rect">
            <a:avLst/>
          </a:prstGeom>
        </p:spPr>
        <p:txBody>
          <a:bodyPr vert="horz" wrap="square" lIns="0" tIns="19050" rIns="0" bIns="0" rtlCol="0">
            <a:spAutoFit/>
          </a:bodyPr>
          <a:lstStyle>
            <a:defPPr>
              <a:defRPr lang="en-US"/>
            </a:defPPr>
            <a:lvl1pPr marL="0" algn="l" defTabSz="914400" rtl="0" eaLnBrk="1" latinLnBrk="0" hangingPunct="1">
              <a:defRPr sz="800" b="0" i="0" kern="1200">
                <a:solidFill>
                  <a:srgbClr val="3C3C41"/>
                </a:solidFill>
                <a:latin typeface="Segoe Pro"/>
                <a:ea typeface="+mn-ea"/>
                <a:cs typeface="Segoe Pro"/>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0" algn="ctr">
              <a:spcBef>
                <a:spcPts val="150"/>
              </a:spcBef>
            </a:pPr>
            <a:r>
              <a:rPr lang="en-US" sz="1000" kern="100">
                <a:solidFill>
                  <a:schemeClr val="tx1">
                    <a:lumMod val="50000"/>
                    <a:lumOff val="50000"/>
                  </a:schemeClr>
                </a:solidFill>
                <a:latin typeface="Segoe UI" panose="020B0502040204020203" pitchFamily="34" charset="0"/>
                <a:cs typeface="Segoe UI" panose="020B0502040204020203" pitchFamily="34" charset="0"/>
              </a:rPr>
              <a:t>Microsoft confidential.</a:t>
            </a:r>
          </a:p>
        </p:txBody>
      </p:sp>
      <p:sp>
        <p:nvSpPr>
          <p:cNvPr id="11" name="Text Placeholder 15">
            <a:extLst>
              <a:ext uri="{FF2B5EF4-FFF2-40B4-BE49-F238E27FC236}">
                <a16:creationId xmlns:a16="http://schemas.microsoft.com/office/drawing/2014/main" id="{A67627AC-D3D0-45A5-829C-169921B8D065}"/>
              </a:ext>
            </a:extLst>
          </p:cNvPr>
          <p:cNvSpPr>
            <a:spLocks noGrp="1"/>
          </p:cNvSpPr>
          <p:nvPr>
            <p:ph type="body" sz="quarter" idx="10" hasCustomPrompt="1"/>
          </p:nvPr>
        </p:nvSpPr>
        <p:spPr>
          <a:xfrm>
            <a:off x="6332539" y="2506532"/>
            <a:ext cx="5440362" cy="1584325"/>
          </a:xfrm>
        </p:spPr>
        <p:txBody>
          <a:bodyPr anchor="b"/>
          <a:lstStyle>
            <a:lvl1pPr>
              <a:defRPr sz="4400">
                <a:latin typeface="+mj-lt"/>
              </a:defRPr>
            </a:lvl1pPr>
          </a:lstStyle>
          <a:p>
            <a:pPr lvl="0"/>
            <a:r>
              <a:rPr lang="en-US"/>
              <a:t>Click to add text</a:t>
            </a:r>
          </a:p>
        </p:txBody>
      </p:sp>
      <p:cxnSp>
        <p:nvCxnSpPr>
          <p:cNvPr id="13" name="Straight Connector 12">
            <a:extLst>
              <a:ext uri="{FF2B5EF4-FFF2-40B4-BE49-F238E27FC236}">
                <a16:creationId xmlns:a16="http://schemas.microsoft.com/office/drawing/2014/main" id="{F0684281-BEF7-491E-B70A-918A8251EAB1}"/>
              </a:ext>
            </a:extLst>
          </p:cNvPr>
          <p:cNvCxnSpPr/>
          <p:nvPr/>
        </p:nvCxnSpPr>
        <p:spPr>
          <a:xfrm>
            <a:off x="6332539" y="4233672"/>
            <a:ext cx="5440362" cy="0"/>
          </a:xfrm>
          <a:prstGeom prst="line">
            <a:avLst/>
          </a:prstGeom>
          <a:ln cap="rnd">
            <a:solidFill>
              <a:srgbClr val="00857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249F1BF8-E39C-40CD-82D2-B0DB3D9A4C2B}"/>
              </a:ext>
            </a:extLst>
          </p:cNvPr>
          <p:cNvCxnSpPr>
            <a:cxnSpLocks/>
          </p:cNvCxnSpPr>
          <p:nvPr/>
        </p:nvCxnSpPr>
        <p:spPr>
          <a:xfrm>
            <a:off x="8727440" y="4325112"/>
            <a:ext cx="2853055" cy="0"/>
          </a:xfrm>
          <a:prstGeom prst="line">
            <a:avLst/>
          </a:prstGeom>
          <a:ln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8" name="Group 47">
            <a:extLst>
              <a:ext uri="{FF2B5EF4-FFF2-40B4-BE49-F238E27FC236}">
                <a16:creationId xmlns:a16="http://schemas.microsoft.com/office/drawing/2014/main" id="{7D4E8BEE-661C-4520-BAD2-80FB347F565C}"/>
              </a:ext>
            </a:extLst>
          </p:cNvPr>
          <p:cNvGrpSpPr/>
          <p:nvPr/>
        </p:nvGrpSpPr>
        <p:grpSpPr>
          <a:xfrm>
            <a:off x="-418728" y="-1658421"/>
            <a:ext cx="5537080" cy="9562369"/>
            <a:chOff x="-418728" y="-1658421"/>
            <a:chExt cx="5537080" cy="9562369"/>
          </a:xfrm>
        </p:grpSpPr>
        <p:sp>
          <p:nvSpPr>
            <p:cNvPr id="29" name="Freeform: Shape 28">
              <a:extLst>
                <a:ext uri="{FF2B5EF4-FFF2-40B4-BE49-F238E27FC236}">
                  <a16:creationId xmlns:a16="http://schemas.microsoft.com/office/drawing/2014/main" id="{CE5F5489-A9A7-4978-9DE2-6AC6CC17CF8B}"/>
                </a:ext>
              </a:extLst>
            </p:cNvPr>
            <p:cNvSpPr/>
            <p:nvPr/>
          </p:nvSpPr>
          <p:spPr bwMode="auto">
            <a:xfrm>
              <a:off x="-136410" y="-15894"/>
              <a:ext cx="2538509" cy="1361900"/>
            </a:xfrm>
            <a:custGeom>
              <a:avLst/>
              <a:gdLst>
                <a:gd name="connsiteX0" fmla="*/ 4678 w 2538509"/>
                <a:gd name="connsiteY0" fmla="*/ 0 h 1361900"/>
                <a:gd name="connsiteX1" fmla="*/ 303439 w 2538509"/>
                <a:gd name="connsiteY1" fmla="*/ 0 h 1361900"/>
                <a:gd name="connsiteX2" fmla="*/ 298760 w 2538509"/>
                <a:gd name="connsiteY2" fmla="*/ 92646 h 1361900"/>
                <a:gd name="connsiteX3" fmla="*/ 1269255 w 2538509"/>
                <a:gd name="connsiteY3" fmla="*/ 1063141 h 1361900"/>
                <a:gd name="connsiteX4" fmla="*/ 2239750 w 2538509"/>
                <a:gd name="connsiteY4" fmla="*/ 92646 h 1361900"/>
                <a:gd name="connsiteX5" fmla="*/ 2235071 w 2538509"/>
                <a:gd name="connsiteY5" fmla="*/ 0 h 1361900"/>
                <a:gd name="connsiteX6" fmla="*/ 2533831 w 2538509"/>
                <a:gd name="connsiteY6" fmla="*/ 0 h 1361900"/>
                <a:gd name="connsiteX7" fmla="*/ 2538509 w 2538509"/>
                <a:gd name="connsiteY7" fmla="*/ 92646 h 1361900"/>
                <a:gd name="connsiteX8" fmla="*/ 1269255 w 2538509"/>
                <a:gd name="connsiteY8" fmla="*/ 1361900 h 1361900"/>
                <a:gd name="connsiteX9" fmla="*/ 0 w 2538509"/>
                <a:gd name="connsiteY9" fmla="*/ 92646 h 1361900"/>
                <a:gd name="connsiteX10" fmla="*/ 4678 w 2538509"/>
                <a:gd name="connsiteY10" fmla="*/ 0 h 1361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38509" h="1361900">
                  <a:moveTo>
                    <a:pt x="4678" y="0"/>
                  </a:moveTo>
                  <a:lnTo>
                    <a:pt x="303439" y="0"/>
                  </a:lnTo>
                  <a:lnTo>
                    <a:pt x="298760" y="92646"/>
                  </a:lnTo>
                  <a:cubicBezTo>
                    <a:pt x="298760" y="628635"/>
                    <a:pt x="733266" y="1063141"/>
                    <a:pt x="1269255" y="1063141"/>
                  </a:cubicBezTo>
                  <a:cubicBezTo>
                    <a:pt x="1805244" y="1063141"/>
                    <a:pt x="2239750" y="628635"/>
                    <a:pt x="2239750" y="92646"/>
                  </a:cubicBezTo>
                  <a:lnTo>
                    <a:pt x="2235071" y="0"/>
                  </a:lnTo>
                  <a:lnTo>
                    <a:pt x="2533831" y="0"/>
                  </a:lnTo>
                  <a:lnTo>
                    <a:pt x="2538509" y="92646"/>
                  </a:lnTo>
                  <a:cubicBezTo>
                    <a:pt x="2538509" y="793635"/>
                    <a:pt x="1970244" y="1361900"/>
                    <a:pt x="1269255" y="1361900"/>
                  </a:cubicBezTo>
                  <a:cubicBezTo>
                    <a:pt x="568265" y="1361900"/>
                    <a:pt x="0" y="793635"/>
                    <a:pt x="0" y="92646"/>
                  </a:cubicBezTo>
                  <a:lnTo>
                    <a:pt x="4678" y="0"/>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algn="l">
                <a:lnSpc>
                  <a:spcPct val="107000"/>
                </a:lnSpc>
                <a:spcBef>
                  <a:spcPts val="0"/>
                </a:spcBef>
                <a:spcAft>
                  <a:spcPts val="800"/>
                </a:spcAft>
              </a:pPr>
              <a:endParaRPr lang="en-US" sz="180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
          <p:nvSpPr>
            <p:cNvPr id="45" name="Freeform: Shape 44">
              <a:extLst>
                <a:ext uri="{FF2B5EF4-FFF2-40B4-BE49-F238E27FC236}">
                  <a16:creationId xmlns:a16="http://schemas.microsoft.com/office/drawing/2014/main" id="{31911F0B-8279-445C-AA49-6A8CD0E022E9}"/>
                </a:ext>
              </a:extLst>
            </p:cNvPr>
            <p:cNvSpPr/>
            <p:nvPr/>
          </p:nvSpPr>
          <p:spPr bwMode="auto">
            <a:xfrm rot="2433989">
              <a:off x="2679898" y="-1658421"/>
              <a:ext cx="2438454" cy="9562369"/>
            </a:xfrm>
            <a:custGeom>
              <a:avLst/>
              <a:gdLst>
                <a:gd name="connsiteX0" fmla="*/ 0 w 2438454"/>
                <a:gd name="connsiteY0" fmla="*/ 1693248 h 9562369"/>
                <a:gd name="connsiteX1" fmla="*/ 1977887 w 2438454"/>
                <a:gd name="connsiteY1" fmla="*/ 0 h 9562369"/>
                <a:gd name="connsiteX2" fmla="*/ 1994769 w 2438454"/>
                <a:gd name="connsiteY2" fmla="*/ 12624 h 9562369"/>
                <a:gd name="connsiteX3" fmla="*/ 2438454 w 2438454"/>
                <a:gd name="connsiteY3" fmla="*/ 953438 h 9562369"/>
                <a:gd name="connsiteX4" fmla="*/ 2438454 w 2438454"/>
                <a:gd name="connsiteY4" fmla="*/ 8343142 h 9562369"/>
                <a:gd name="connsiteX5" fmla="*/ 2383640 w 2438454"/>
                <a:gd name="connsiteY5" fmla="*/ 8705703 h 9562369"/>
                <a:gd name="connsiteX6" fmla="*/ 2372746 w 2438454"/>
                <a:gd name="connsiteY6" fmla="*/ 8735468 h 9562369"/>
                <a:gd name="connsiteX7" fmla="*/ 1429447 w 2438454"/>
                <a:gd name="connsiteY7" fmla="*/ 9543016 h 9562369"/>
                <a:gd name="connsiteX8" fmla="*/ 1343886 w 2438454"/>
                <a:gd name="connsiteY8" fmla="*/ 9556075 h 9562369"/>
                <a:gd name="connsiteX9" fmla="*/ 1219226 w 2438454"/>
                <a:gd name="connsiteY9" fmla="*/ 9562369 h 9562369"/>
                <a:gd name="connsiteX10" fmla="*/ 1219227 w 2438454"/>
                <a:gd name="connsiteY10" fmla="*/ 9562369 h 9562369"/>
                <a:gd name="connsiteX11" fmla="*/ 0 w 2438454"/>
                <a:gd name="connsiteY11" fmla="*/ 8343141 h 9562369"/>
                <a:gd name="connsiteX12" fmla="*/ 0 w 2438454"/>
                <a:gd name="connsiteY12" fmla="*/ 1693248 h 9562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38454" h="9562369">
                  <a:moveTo>
                    <a:pt x="0" y="1693248"/>
                  </a:moveTo>
                  <a:lnTo>
                    <a:pt x="1977887" y="0"/>
                  </a:lnTo>
                  <a:lnTo>
                    <a:pt x="1994769" y="12624"/>
                  </a:lnTo>
                  <a:cubicBezTo>
                    <a:pt x="2265739" y="236249"/>
                    <a:pt x="2438454" y="574674"/>
                    <a:pt x="2438454" y="953438"/>
                  </a:cubicBezTo>
                  <a:cubicBezTo>
                    <a:pt x="2438454" y="3416673"/>
                    <a:pt x="2438453" y="5879909"/>
                    <a:pt x="2438454" y="8343142"/>
                  </a:cubicBezTo>
                  <a:cubicBezTo>
                    <a:pt x="2438454" y="8469397"/>
                    <a:pt x="2419263" y="8591170"/>
                    <a:pt x="2383640" y="8705703"/>
                  </a:cubicBezTo>
                  <a:lnTo>
                    <a:pt x="2372746" y="8735468"/>
                  </a:lnTo>
                  <a:lnTo>
                    <a:pt x="1429447" y="9543016"/>
                  </a:lnTo>
                  <a:lnTo>
                    <a:pt x="1343886" y="9556075"/>
                  </a:lnTo>
                  <a:cubicBezTo>
                    <a:pt x="1302898" y="9560237"/>
                    <a:pt x="1261311" y="9562369"/>
                    <a:pt x="1219226" y="9562369"/>
                  </a:cubicBezTo>
                  <a:lnTo>
                    <a:pt x="1219227" y="9562369"/>
                  </a:lnTo>
                  <a:cubicBezTo>
                    <a:pt x="545868" y="9562368"/>
                    <a:pt x="0" y="9016501"/>
                    <a:pt x="0" y="8343141"/>
                  </a:cubicBezTo>
                  <a:lnTo>
                    <a:pt x="0" y="1693248"/>
                  </a:lnTo>
                  <a:close/>
                </a:path>
              </a:pathLst>
            </a:custGeom>
            <a:solidFill>
              <a:schemeClr val="accent5"/>
            </a:solidFill>
            <a:ln>
              <a:noFill/>
              <a:headEnd type="none" w="med" len="med"/>
              <a:tailEnd type="none" w="med" len="med"/>
            </a:ln>
            <a:effectLst>
              <a:outerShdw blurRad="50800" dist="25400" dir="2700000" algn="tl" rotWithShape="0">
                <a:prstClr val="black">
                  <a:alpha val="14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indent="-285750" algn="l">
                <a:lnSpc>
                  <a:spcPct val="107000"/>
                </a:lnSpc>
                <a:spcBef>
                  <a:spcPts val="0"/>
                </a:spcBef>
                <a:spcAft>
                  <a:spcPts val="800"/>
                </a:spcAft>
                <a:buFont typeface="Arial" panose="020B0604020202020204" pitchFamily="34" charset="0"/>
                <a:buChar char="•"/>
              </a:pPr>
              <a:endParaRPr lang="en-US" sz="180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
          <p:nvSpPr>
            <p:cNvPr id="41" name="Freeform: Shape 40">
              <a:extLst>
                <a:ext uri="{FF2B5EF4-FFF2-40B4-BE49-F238E27FC236}">
                  <a16:creationId xmlns:a16="http://schemas.microsoft.com/office/drawing/2014/main" id="{4E01B091-86B0-4F26-9B47-3027B42A45D8}"/>
                </a:ext>
              </a:extLst>
            </p:cNvPr>
            <p:cNvSpPr/>
            <p:nvPr/>
          </p:nvSpPr>
          <p:spPr bwMode="auto">
            <a:xfrm rot="8101561">
              <a:off x="-418728" y="2685412"/>
              <a:ext cx="2438455" cy="4704677"/>
            </a:xfrm>
            <a:custGeom>
              <a:avLst/>
              <a:gdLst>
                <a:gd name="connsiteX0" fmla="*/ 585 w 2438455"/>
                <a:gd name="connsiteY0" fmla="*/ 4704677 h 4704677"/>
                <a:gd name="connsiteX1" fmla="*/ 1 w 2438455"/>
                <a:gd name="connsiteY1" fmla="*/ 4693100 h 4704677"/>
                <a:gd name="connsiteX2" fmla="*/ 0 w 2438455"/>
                <a:gd name="connsiteY2" fmla="*/ 1219227 h 4704677"/>
                <a:gd name="connsiteX3" fmla="*/ 1219227 w 2438455"/>
                <a:gd name="connsiteY3" fmla="*/ 0 h 4704677"/>
                <a:gd name="connsiteX4" fmla="*/ 1464944 w 2438455"/>
                <a:gd name="connsiteY4" fmla="*/ 24770 h 4704677"/>
                <a:gd name="connsiteX5" fmla="*/ 1500768 w 2438455"/>
                <a:gd name="connsiteY5" fmla="*/ 33982 h 4704677"/>
                <a:gd name="connsiteX6" fmla="*/ 2404188 w 2438455"/>
                <a:gd name="connsiteY6" fmla="*/ 936582 h 4704677"/>
                <a:gd name="connsiteX7" fmla="*/ 2413684 w 2438455"/>
                <a:gd name="connsiteY7" fmla="*/ 973510 h 4704677"/>
                <a:gd name="connsiteX8" fmla="*/ 2438454 w 2438455"/>
                <a:gd name="connsiteY8" fmla="*/ 1219227 h 4704677"/>
                <a:gd name="connsiteX9" fmla="*/ 2438455 w 2438455"/>
                <a:gd name="connsiteY9" fmla="*/ 2264594 h 4704677"/>
                <a:gd name="connsiteX10" fmla="*/ 585 w 2438455"/>
                <a:gd name="connsiteY10" fmla="*/ 4704677 h 4704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38455" h="4704677">
                  <a:moveTo>
                    <a:pt x="585" y="4704677"/>
                  </a:moveTo>
                  <a:lnTo>
                    <a:pt x="1" y="4693100"/>
                  </a:lnTo>
                  <a:lnTo>
                    <a:pt x="0" y="1219227"/>
                  </a:lnTo>
                  <a:cubicBezTo>
                    <a:pt x="0" y="545867"/>
                    <a:pt x="545867" y="0"/>
                    <a:pt x="1219227" y="0"/>
                  </a:cubicBezTo>
                  <a:cubicBezTo>
                    <a:pt x="1303397" y="0"/>
                    <a:pt x="1385575" y="8529"/>
                    <a:pt x="1464944" y="24770"/>
                  </a:cubicBezTo>
                  <a:lnTo>
                    <a:pt x="1500768" y="33982"/>
                  </a:lnTo>
                  <a:lnTo>
                    <a:pt x="2404188" y="936582"/>
                  </a:lnTo>
                  <a:lnTo>
                    <a:pt x="2413684" y="973510"/>
                  </a:lnTo>
                  <a:cubicBezTo>
                    <a:pt x="2429925" y="1052879"/>
                    <a:pt x="2438454" y="1135057"/>
                    <a:pt x="2438454" y="1219227"/>
                  </a:cubicBezTo>
                  <a:lnTo>
                    <a:pt x="2438455" y="2264594"/>
                  </a:lnTo>
                  <a:lnTo>
                    <a:pt x="585" y="4704677"/>
                  </a:lnTo>
                  <a:close/>
                </a:path>
              </a:pathLst>
            </a:custGeom>
            <a:solidFill>
              <a:schemeClr val="accent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indent="-285750" algn="l">
                <a:lnSpc>
                  <a:spcPct val="107000"/>
                </a:lnSpc>
                <a:spcBef>
                  <a:spcPts val="0"/>
                </a:spcBef>
                <a:spcAft>
                  <a:spcPts val="800"/>
                </a:spcAft>
                <a:buFont typeface="Arial" panose="020B0604020202020204" pitchFamily="34" charset="0"/>
                <a:buChar char="•"/>
              </a:pPr>
              <a:endParaRPr lang="en-US" sz="180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
          <p:nvSpPr>
            <p:cNvPr id="37" name="Freeform: Shape 36">
              <a:extLst>
                <a:ext uri="{FF2B5EF4-FFF2-40B4-BE49-F238E27FC236}">
                  <a16:creationId xmlns:a16="http://schemas.microsoft.com/office/drawing/2014/main" id="{C8036D68-DFCB-4FEE-A481-B3EF513D81F9}"/>
                </a:ext>
              </a:extLst>
            </p:cNvPr>
            <p:cNvSpPr/>
            <p:nvPr/>
          </p:nvSpPr>
          <p:spPr bwMode="auto">
            <a:xfrm>
              <a:off x="354478" y="4590490"/>
              <a:ext cx="2490322" cy="2286321"/>
            </a:xfrm>
            <a:custGeom>
              <a:avLst/>
              <a:gdLst>
                <a:gd name="connsiteX0" fmla="*/ 1245161 w 2490322"/>
                <a:gd name="connsiteY0" fmla="*/ 0 h 2286321"/>
                <a:gd name="connsiteX1" fmla="*/ 2490322 w 2490322"/>
                <a:gd name="connsiteY1" fmla="*/ 1245161 h 2286321"/>
                <a:gd name="connsiteX2" fmla="*/ 1941342 w 2490322"/>
                <a:gd name="connsiteY2" fmla="*/ 2277668 h 2286321"/>
                <a:gd name="connsiteX3" fmla="*/ 1927099 w 2490322"/>
                <a:gd name="connsiteY3" fmla="*/ 2286321 h 2286321"/>
                <a:gd name="connsiteX4" fmla="*/ 563223 w 2490322"/>
                <a:gd name="connsiteY4" fmla="*/ 2286321 h 2286321"/>
                <a:gd name="connsiteX5" fmla="*/ 548980 w 2490322"/>
                <a:gd name="connsiteY5" fmla="*/ 2277668 h 2286321"/>
                <a:gd name="connsiteX6" fmla="*/ 0 w 2490322"/>
                <a:gd name="connsiteY6" fmla="*/ 1245161 h 2286321"/>
                <a:gd name="connsiteX7" fmla="*/ 1245161 w 2490322"/>
                <a:gd name="connsiteY7" fmla="*/ 0 h 2286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90322" h="2286321">
                  <a:moveTo>
                    <a:pt x="1245161" y="0"/>
                  </a:moveTo>
                  <a:cubicBezTo>
                    <a:pt x="1932844" y="0"/>
                    <a:pt x="2490322" y="557478"/>
                    <a:pt x="2490322" y="1245161"/>
                  </a:cubicBezTo>
                  <a:cubicBezTo>
                    <a:pt x="2490322" y="1674963"/>
                    <a:pt x="2272557" y="2053904"/>
                    <a:pt x="1941342" y="2277668"/>
                  </a:cubicBezTo>
                  <a:lnTo>
                    <a:pt x="1927099" y="2286321"/>
                  </a:lnTo>
                  <a:lnTo>
                    <a:pt x="563223" y="2286321"/>
                  </a:lnTo>
                  <a:lnTo>
                    <a:pt x="548980" y="2277668"/>
                  </a:lnTo>
                  <a:cubicBezTo>
                    <a:pt x="217765" y="2053904"/>
                    <a:pt x="0" y="1674963"/>
                    <a:pt x="0" y="1245161"/>
                  </a:cubicBezTo>
                  <a:cubicBezTo>
                    <a:pt x="0" y="557478"/>
                    <a:pt x="557478" y="0"/>
                    <a:pt x="1245161" y="0"/>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indent="-285750" algn="l">
                <a:lnSpc>
                  <a:spcPct val="107000"/>
                </a:lnSpc>
                <a:spcBef>
                  <a:spcPts val="0"/>
                </a:spcBef>
                <a:spcAft>
                  <a:spcPts val="800"/>
                </a:spcAft>
                <a:buFont typeface="Arial" panose="020B0604020202020204" pitchFamily="34" charset="0"/>
                <a:buChar char="•"/>
              </a:pPr>
              <a:endParaRPr lang="en-US" sz="180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grpSp>
    </p:spTree>
    <p:extLst>
      <p:ext uri="{BB962C8B-B14F-4D97-AF65-F5344CB8AC3E}">
        <p14:creationId xmlns:p14="http://schemas.microsoft.com/office/powerpoint/2010/main" val="883933984"/>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lumMod val="95000"/>
          </a:schemeClr>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89A6215-ADAF-4F3A-B98D-BA4371B8E84F}"/>
              </a:ext>
            </a:extLst>
          </p:cNvPr>
          <p:cNvSpPr/>
          <p:nvPr/>
        </p:nvSpPr>
        <p:spPr bwMode="auto">
          <a:xfrm>
            <a:off x="0" y="0"/>
            <a:ext cx="12192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indent="-285750" algn="l">
              <a:lnSpc>
                <a:spcPct val="107000"/>
              </a:lnSpc>
              <a:spcBef>
                <a:spcPts val="0"/>
              </a:spcBef>
              <a:spcAft>
                <a:spcPts val="800"/>
              </a:spcAft>
              <a:buFont typeface="Arial" panose="020B0604020202020204" pitchFamily="34" charset="0"/>
              <a:buChar char="•"/>
            </a:pPr>
            <a:endParaRPr lang="en-US" sz="180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
        <p:nvSpPr>
          <p:cNvPr id="2" name="TextBox 1">
            <a:extLst>
              <a:ext uri="{FF2B5EF4-FFF2-40B4-BE49-F238E27FC236}">
                <a16:creationId xmlns:a16="http://schemas.microsoft.com/office/drawing/2014/main" id="{14F4E0B7-623C-4007-88CA-EB7C494B9C20}"/>
              </a:ext>
            </a:extLst>
          </p:cNvPr>
          <p:cNvSpPr txBox="1"/>
          <p:nvPr/>
        </p:nvSpPr>
        <p:spPr>
          <a:xfrm>
            <a:off x="419100" y="3013502"/>
            <a:ext cx="3149600" cy="830997"/>
          </a:xfrm>
          <a:prstGeom prst="rect">
            <a:avLst/>
          </a:prstGeom>
          <a:noFill/>
        </p:spPr>
        <p:txBody>
          <a:bodyPr wrap="square" lIns="0" tIns="0" rIns="0" bIns="0" rtlCol="0">
            <a:spAutoFit/>
          </a:bodyPr>
          <a:lstStyle/>
          <a:p>
            <a:pPr>
              <a:lnSpc>
                <a:spcPct val="90000"/>
              </a:lnSpc>
              <a:spcAft>
                <a:spcPts val="600"/>
              </a:spcAft>
            </a:pPr>
            <a:r>
              <a:rPr lang="en-US" sz="6000">
                <a:solidFill>
                  <a:schemeClr val="accent2"/>
                </a:solidFill>
                <a:latin typeface="+mj-lt"/>
              </a:rPr>
              <a:t>AGENDA</a:t>
            </a:r>
          </a:p>
        </p:txBody>
      </p:sp>
      <p:cxnSp>
        <p:nvCxnSpPr>
          <p:cNvPr id="5" name="Straight Connector 4">
            <a:extLst>
              <a:ext uri="{FF2B5EF4-FFF2-40B4-BE49-F238E27FC236}">
                <a16:creationId xmlns:a16="http://schemas.microsoft.com/office/drawing/2014/main" id="{51601708-264E-4755-B9B6-A11DB67807AE}"/>
              </a:ext>
            </a:extLst>
          </p:cNvPr>
          <p:cNvCxnSpPr>
            <a:cxnSpLocks/>
          </p:cNvCxnSpPr>
          <p:nvPr/>
        </p:nvCxnSpPr>
        <p:spPr>
          <a:xfrm>
            <a:off x="4140200" y="981075"/>
            <a:ext cx="0" cy="489585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7" name="Text Placeholder 16">
            <a:extLst>
              <a:ext uri="{FF2B5EF4-FFF2-40B4-BE49-F238E27FC236}">
                <a16:creationId xmlns:a16="http://schemas.microsoft.com/office/drawing/2014/main" id="{DB2730D9-FBC5-4321-9068-B87FFB9A758A}"/>
              </a:ext>
            </a:extLst>
          </p:cNvPr>
          <p:cNvSpPr>
            <a:spLocks noGrp="1"/>
          </p:cNvSpPr>
          <p:nvPr>
            <p:ph type="body" sz="quarter" idx="14" hasCustomPrompt="1"/>
          </p:nvPr>
        </p:nvSpPr>
        <p:spPr>
          <a:xfrm>
            <a:off x="5702300" y="849313"/>
            <a:ext cx="6070600" cy="1030286"/>
          </a:xfrm>
        </p:spPr>
        <p:txBody>
          <a:bodyPr anchor="ctr"/>
          <a:lstStyle>
            <a:lvl1pPr>
              <a:defRPr sz="2000"/>
            </a:lvl1pPr>
          </a:lstStyle>
          <a:p>
            <a:pPr lvl="0"/>
            <a:r>
              <a:rPr lang="en-US"/>
              <a:t>Insert Text</a:t>
            </a:r>
          </a:p>
        </p:txBody>
      </p:sp>
      <p:sp>
        <p:nvSpPr>
          <p:cNvPr id="18" name="Text Placeholder 16">
            <a:extLst>
              <a:ext uri="{FF2B5EF4-FFF2-40B4-BE49-F238E27FC236}">
                <a16:creationId xmlns:a16="http://schemas.microsoft.com/office/drawing/2014/main" id="{A7F208D7-A1F2-4419-90EA-87DFF23CCC50}"/>
              </a:ext>
            </a:extLst>
          </p:cNvPr>
          <p:cNvSpPr>
            <a:spLocks noGrp="1"/>
          </p:cNvSpPr>
          <p:nvPr>
            <p:ph type="body" sz="quarter" idx="15" hasCustomPrompt="1"/>
          </p:nvPr>
        </p:nvSpPr>
        <p:spPr>
          <a:xfrm>
            <a:off x="5702300" y="2253721"/>
            <a:ext cx="6070600" cy="1030286"/>
          </a:xfrm>
        </p:spPr>
        <p:txBody>
          <a:bodyPr anchor="ctr"/>
          <a:lstStyle>
            <a:lvl1pPr>
              <a:defRPr sz="2000"/>
            </a:lvl1pPr>
          </a:lstStyle>
          <a:p>
            <a:pPr lvl="0"/>
            <a:r>
              <a:rPr lang="en-US"/>
              <a:t>Insert Text</a:t>
            </a:r>
          </a:p>
        </p:txBody>
      </p:sp>
      <p:sp>
        <p:nvSpPr>
          <p:cNvPr id="19" name="Text Placeholder 16">
            <a:extLst>
              <a:ext uri="{FF2B5EF4-FFF2-40B4-BE49-F238E27FC236}">
                <a16:creationId xmlns:a16="http://schemas.microsoft.com/office/drawing/2014/main" id="{2EE32BB1-BB40-4002-9DB7-848F4FD96B1C}"/>
              </a:ext>
            </a:extLst>
          </p:cNvPr>
          <p:cNvSpPr>
            <a:spLocks noGrp="1"/>
          </p:cNvSpPr>
          <p:nvPr>
            <p:ph type="body" sz="quarter" idx="16" hasCustomPrompt="1"/>
          </p:nvPr>
        </p:nvSpPr>
        <p:spPr>
          <a:xfrm>
            <a:off x="5702300" y="3658129"/>
            <a:ext cx="6070600" cy="1030286"/>
          </a:xfrm>
        </p:spPr>
        <p:txBody>
          <a:bodyPr anchor="ctr"/>
          <a:lstStyle>
            <a:lvl1pPr>
              <a:defRPr sz="2000"/>
            </a:lvl1pPr>
          </a:lstStyle>
          <a:p>
            <a:pPr lvl="0"/>
            <a:r>
              <a:rPr lang="en-US"/>
              <a:t>Insert Text</a:t>
            </a:r>
          </a:p>
        </p:txBody>
      </p:sp>
      <p:sp>
        <p:nvSpPr>
          <p:cNvPr id="20" name="Text Placeholder 16">
            <a:extLst>
              <a:ext uri="{FF2B5EF4-FFF2-40B4-BE49-F238E27FC236}">
                <a16:creationId xmlns:a16="http://schemas.microsoft.com/office/drawing/2014/main" id="{CA2F7649-7871-4F82-8CBD-14726A2BC560}"/>
              </a:ext>
            </a:extLst>
          </p:cNvPr>
          <p:cNvSpPr>
            <a:spLocks noGrp="1"/>
          </p:cNvSpPr>
          <p:nvPr>
            <p:ph type="body" sz="quarter" idx="17" hasCustomPrompt="1"/>
          </p:nvPr>
        </p:nvSpPr>
        <p:spPr>
          <a:xfrm>
            <a:off x="5702300" y="5062538"/>
            <a:ext cx="6070600" cy="1030286"/>
          </a:xfrm>
        </p:spPr>
        <p:txBody>
          <a:bodyPr anchor="ctr"/>
          <a:lstStyle>
            <a:lvl1pPr>
              <a:defRPr sz="2000"/>
            </a:lvl1pPr>
          </a:lstStyle>
          <a:p>
            <a:pPr lvl="0"/>
            <a:r>
              <a:rPr lang="en-US"/>
              <a:t>Insert Text</a:t>
            </a:r>
          </a:p>
        </p:txBody>
      </p:sp>
      <p:grpSp>
        <p:nvGrpSpPr>
          <p:cNvPr id="43" name="Group 42">
            <a:extLst>
              <a:ext uri="{FF2B5EF4-FFF2-40B4-BE49-F238E27FC236}">
                <a16:creationId xmlns:a16="http://schemas.microsoft.com/office/drawing/2014/main" id="{EB5C41E5-C861-456B-A12F-93E09570849E}"/>
              </a:ext>
            </a:extLst>
          </p:cNvPr>
          <p:cNvGrpSpPr/>
          <p:nvPr/>
        </p:nvGrpSpPr>
        <p:grpSpPr>
          <a:xfrm>
            <a:off x="4641367" y="2418350"/>
            <a:ext cx="751828" cy="751828"/>
            <a:chOff x="4641367" y="2321723"/>
            <a:chExt cx="751828" cy="751828"/>
          </a:xfrm>
        </p:grpSpPr>
        <p:sp>
          <p:nvSpPr>
            <p:cNvPr id="30" name="Freeform: Shape 29">
              <a:extLst>
                <a:ext uri="{FF2B5EF4-FFF2-40B4-BE49-F238E27FC236}">
                  <a16:creationId xmlns:a16="http://schemas.microsoft.com/office/drawing/2014/main" id="{29567C4C-FA00-44C8-953C-6ECED2E2DD80}"/>
                </a:ext>
              </a:extLst>
            </p:cNvPr>
            <p:cNvSpPr/>
            <p:nvPr/>
          </p:nvSpPr>
          <p:spPr>
            <a:xfrm>
              <a:off x="4641367" y="2321723"/>
              <a:ext cx="751828" cy="751828"/>
            </a:xfrm>
            <a:custGeom>
              <a:avLst/>
              <a:gdLst>
                <a:gd name="connsiteX0" fmla="*/ -621 w 751828"/>
                <a:gd name="connsiteY0" fmla="*/ 375605 h 751828"/>
                <a:gd name="connsiteX1" fmla="*/ 375293 w 751828"/>
                <a:gd name="connsiteY1" fmla="*/ -309 h 751828"/>
                <a:gd name="connsiteX2" fmla="*/ 751207 w 751828"/>
                <a:gd name="connsiteY2" fmla="*/ 375605 h 751828"/>
                <a:gd name="connsiteX3" fmla="*/ 375293 w 751828"/>
                <a:gd name="connsiteY3" fmla="*/ 751520 h 751828"/>
                <a:gd name="connsiteX4" fmla="*/ -621 w 751828"/>
                <a:gd name="connsiteY4" fmla="*/ 375605 h 751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1828" h="751828">
                  <a:moveTo>
                    <a:pt x="-621" y="375605"/>
                  </a:moveTo>
                  <a:cubicBezTo>
                    <a:pt x="-621" y="167990"/>
                    <a:pt x="167678" y="-309"/>
                    <a:pt x="375293" y="-309"/>
                  </a:cubicBezTo>
                  <a:cubicBezTo>
                    <a:pt x="582909" y="-309"/>
                    <a:pt x="751207" y="167990"/>
                    <a:pt x="751207" y="375605"/>
                  </a:cubicBezTo>
                  <a:cubicBezTo>
                    <a:pt x="751207" y="583221"/>
                    <a:pt x="582909" y="751520"/>
                    <a:pt x="375293" y="751520"/>
                  </a:cubicBezTo>
                  <a:cubicBezTo>
                    <a:pt x="167678" y="751520"/>
                    <a:pt x="-621" y="583221"/>
                    <a:pt x="-621" y="375605"/>
                  </a:cubicBezTo>
                  <a:close/>
                </a:path>
              </a:pathLst>
            </a:custGeom>
            <a:solidFill>
              <a:srgbClr val="107C10"/>
            </a:solidFill>
            <a:ln w="7849" cap="flat">
              <a:noFill/>
              <a:prstDash val="solid"/>
              <a:miter/>
            </a:ln>
          </p:spPr>
          <p:txBody>
            <a:bodyPr rtlCol="0" anchor="ctr"/>
            <a:lstStyle/>
            <a:p>
              <a:endParaRPr lang="en-US"/>
            </a:p>
          </p:txBody>
        </p:sp>
        <p:sp>
          <p:nvSpPr>
            <p:cNvPr id="31" name="TextBox 30">
              <a:extLst>
                <a:ext uri="{FF2B5EF4-FFF2-40B4-BE49-F238E27FC236}">
                  <a16:creationId xmlns:a16="http://schemas.microsoft.com/office/drawing/2014/main" id="{B5BCC7A1-A97F-4F50-987C-0BE5EBB5944F}"/>
                </a:ext>
              </a:extLst>
            </p:cNvPr>
            <p:cNvSpPr txBox="1"/>
            <p:nvPr/>
          </p:nvSpPr>
          <p:spPr>
            <a:xfrm>
              <a:off x="4877942" y="2444184"/>
              <a:ext cx="275717" cy="517899"/>
            </a:xfrm>
            <a:prstGeom prst="rect">
              <a:avLst/>
            </a:prstGeom>
            <a:noFill/>
          </p:spPr>
          <p:txBody>
            <a:bodyPr wrap="none" lIns="0" tIns="0" rIns="0" bIns="0" rtlCol="0">
              <a:spAutoFit/>
            </a:bodyPr>
            <a:lstStyle/>
            <a:p>
              <a:pPr algn="ctr">
                <a:lnSpc>
                  <a:spcPct val="90000"/>
                </a:lnSpc>
                <a:spcAft>
                  <a:spcPts val="600"/>
                </a:spcAft>
              </a:pPr>
              <a:r>
                <a:rPr lang="en-US" sz="3739" b="1" spc="0" baseline="0" err="1">
                  <a:solidFill>
                    <a:srgbClr val="FFFFFF"/>
                  </a:solidFill>
                  <a:latin typeface="Segoe UI"/>
                  <a:cs typeface="Segoe UI"/>
                  <a:sym typeface="Segoe UI"/>
                  <a:rtl val="0"/>
                </a:rPr>
                <a:t>2</a:t>
              </a:r>
            </a:p>
          </p:txBody>
        </p:sp>
      </p:grpSp>
      <p:grpSp>
        <p:nvGrpSpPr>
          <p:cNvPr id="42" name="Group 41">
            <a:extLst>
              <a:ext uri="{FF2B5EF4-FFF2-40B4-BE49-F238E27FC236}">
                <a16:creationId xmlns:a16="http://schemas.microsoft.com/office/drawing/2014/main" id="{AFB66619-75A2-4301-A292-7F96D5AEFDF4}"/>
              </a:ext>
            </a:extLst>
          </p:cNvPr>
          <p:cNvGrpSpPr/>
          <p:nvPr/>
        </p:nvGrpSpPr>
        <p:grpSpPr>
          <a:xfrm>
            <a:off x="4641367" y="3822758"/>
            <a:ext cx="751828" cy="751828"/>
            <a:chOff x="4641367" y="3726131"/>
            <a:chExt cx="751828" cy="751828"/>
          </a:xfrm>
        </p:grpSpPr>
        <p:sp>
          <p:nvSpPr>
            <p:cNvPr id="33" name="Freeform: Shape 32">
              <a:extLst>
                <a:ext uri="{FF2B5EF4-FFF2-40B4-BE49-F238E27FC236}">
                  <a16:creationId xmlns:a16="http://schemas.microsoft.com/office/drawing/2014/main" id="{19595A72-0990-4CE6-9123-881FB9F15285}"/>
                </a:ext>
              </a:extLst>
            </p:cNvPr>
            <p:cNvSpPr/>
            <p:nvPr/>
          </p:nvSpPr>
          <p:spPr>
            <a:xfrm>
              <a:off x="4641367" y="3726131"/>
              <a:ext cx="751828" cy="751828"/>
            </a:xfrm>
            <a:custGeom>
              <a:avLst/>
              <a:gdLst>
                <a:gd name="connsiteX0" fmla="*/ -621 w 751828"/>
                <a:gd name="connsiteY0" fmla="*/ 375421 h 751828"/>
                <a:gd name="connsiteX1" fmla="*/ 375293 w 751828"/>
                <a:gd name="connsiteY1" fmla="*/ -493 h 751828"/>
                <a:gd name="connsiteX2" fmla="*/ 751207 w 751828"/>
                <a:gd name="connsiteY2" fmla="*/ 375421 h 751828"/>
                <a:gd name="connsiteX3" fmla="*/ 375293 w 751828"/>
                <a:gd name="connsiteY3" fmla="*/ 751336 h 751828"/>
                <a:gd name="connsiteX4" fmla="*/ -621 w 751828"/>
                <a:gd name="connsiteY4" fmla="*/ 375421 h 751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1828" h="751828">
                  <a:moveTo>
                    <a:pt x="-621" y="375421"/>
                  </a:moveTo>
                  <a:cubicBezTo>
                    <a:pt x="-621" y="167806"/>
                    <a:pt x="167678" y="-493"/>
                    <a:pt x="375293" y="-493"/>
                  </a:cubicBezTo>
                  <a:cubicBezTo>
                    <a:pt x="582909" y="-493"/>
                    <a:pt x="751207" y="167806"/>
                    <a:pt x="751207" y="375421"/>
                  </a:cubicBezTo>
                  <a:cubicBezTo>
                    <a:pt x="751207" y="583037"/>
                    <a:pt x="582909" y="751336"/>
                    <a:pt x="375293" y="751336"/>
                  </a:cubicBezTo>
                  <a:cubicBezTo>
                    <a:pt x="167678" y="751336"/>
                    <a:pt x="-621" y="583037"/>
                    <a:pt x="-621" y="375421"/>
                  </a:cubicBezTo>
                  <a:close/>
                </a:path>
              </a:pathLst>
            </a:custGeom>
            <a:solidFill>
              <a:srgbClr val="30E5D0"/>
            </a:solidFill>
            <a:ln w="7849" cap="flat">
              <a:noFill/>
              <a:prstDash val="solid"/>
              <a:miter/>
            </a:ln>
          </p:spPr>
          <p:txBody>
            <a:bodyPr rtlCol="0" anchor="ctr"/>
            <a:lstStyle/>
            <a:p>
              <a:endParaRPr lang="en-US"/>
            </a:p>
          </p:txBody>
        </p:sp>
        <p:sp>
          <p:nvSpPr>
            <p:cNvPr id="34" name="TextBox 33">
              <a:extLst>
                <a:ext uri="{FF2B5EF4-FFF2-40B4-BE49-F238E27FC236}">
                  <a16:creationId xmlns:a16="http://schemas.microsoft.com/office/drawing/2014/main" id="{933FE366-13C2-4E74-B8C5-97CC08A5686F}"/>
                </a:ext>
              </a:extLst>
            </p:cNvPr>
            <p:cNvSpPr txBox="1"/>
            <p:nvPr/>
          </p:nvSpPr>
          <p:spPr>
            <a:xfrm>
              <a:off x="4877942" y="3856506"/>
              <a:ext cx="275717" cy="517899"/>
            </a:xfrm>
            <a:prstGeom prst="rect">
              <a:avLst/>
            </a:prstGeom>
            <a:noFill/>
          </p:spPr>
          <p:txBody>
            <a:bodyPr wrap="none" lIns="0" tIns="0" rIns="0" bIns="0" rtlCol="0">
              <a:spAutoFit/>
            </a:bodyPr>
            <a:lstStyle/>
            <a:p>
              <a:pPr algn="ctr">
                <a:lnSpc>
                  <a:spcPct val="90000"/>
                </a:lnSpc>
                <a:spcAft>
                  <a:spcPts val="600"/>
                </a:spcAft>
              </a:pPr>
              <a:r>
                <a:rPr lang="en-US" sz="3739" b="1" spc="0" baseline="0" err="1">
                  <a:solidFill>
                    <a:srgbClr val="FFFFFF"/>
                  </a:solidFill>
                  <a:latin typeface="Segoe UI"/>
                  <a:cs typeface="Segoe UI"/>
                  <a:sym typeface="Segoe UI"/>
                  <a:rtl val="0"/>
                </a:rPr>
                <a:t>3</a:t>
              </a:r>
            </a:p>
          </p:txBody>
        </p:sp>
      </p:grpSp>
      <p:grpSp>
        <p:nvGrpSpPr>
          <p:cNvPr id="41" name="Group 40">
            <a:extLst>
              <a:ext uri="{FF2B5EF4-FFF2-40B4-BE49-F238E27FC236}">
                <a16:creationId xmlns:a16="http://schemas.microsoft.com/office/drawing/2014/main" id="{A65C49D6-6537-441F-8135-76842940D99E}"/>
              </a:ext>
            </a:extLst>
          </p:cNvPr>
          <p:cNvGrpSpPr/>
          <p:nvPr/>
        </p:nvGrpSpPr>
        <p:grpSpPr>
          <a:xfrm>
            <a:off x="4641367" y="5196399"/>
            <a:ext cx="751828" cy="813364"/>
            <a:chOff x="4641367" y="5124390"/>
            <a:chExt cx="751828" cy="813364"/>
          </a:xfrm>
        </p:grpSpPr>
        <p:sp>
          <p:nvSpPr>
            <p:cNvPr id="36" name="Freeform: Shape 35">
              <a:extLst>
                <a:ext uri="{FF2B5EF4-FFF2-40B4-BE49-F238E27FC236}">
                  <a16:creationId xmlns:a16="http://schemas.microsoft.com/office/drawing/2014/main" id="{510B9A58-BD33-4547-B0EE-3AEF8B209990}"/>
                </a:ext>
              </a:extLst>
            </p:cNvPr>
            <p:cNvSpPr/>
            <p:nvPr/>
          </p:nvSpPr>
          <p:spPr>
            <a:xfrm>
              <a:off x="4641367" y="5138454"/>
              <a:ext cx="751828" cy="743914"/>
            </a:xfrm>
            <a:custGeom>
              <a:avLst/>
              <a:gdLst>
                <a:gd name="connsiteX0" fmla="*/ -621 w 751828"/>
                <a:gd name="connsiteY0" fmla="*/ 371280 h 743914"/>
                <a:gd name="connsiteX1" fmla="*/ 375293 w 751828"/>
                <a:gd name="connsiteY1" fmla="*/ -677 h 743914"/>
                <a:gd name="connsiteX2" fmla="*/ 751207 w 751828"/>
                <a:gd name="connsiteY2" fmla="*/ 371280 h 743914"/>
                <a:gd name="connsiteX3" fmla="*/ 375293 w 751828"/>
                <a:gd name="connsiteY3" fmla="*/ 743238 h 743914"/>
                <a:gd name="connsiteX4" fmla="*/ -621 w 751828"/>
                <a:gd name="connsiteY4" fmla="*/ 371280 h 7439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1828" h="743914">
                  <a:moveTo>
                    <a:pt x="-621" y="371280"/>
                  </a:moveTo>
                  <a:cubicBezTo>
                    <a:pt x="-621" y="165857"/>
                    <a:pt x="167678" y="-677"/>
                    <a:pt x="375293" y="-677"/>
                  </a:cubicBezTo>
                  <a:cubicBezTo>
                    <a:pt x="582909" y="-677"/>
                    <a:pt x="751207" y="165857"/>
                    <a:pt x="751207" y="371280"/>
                  </a:cubicBezTo>
                  <a:cubicBezTo>
                    <a:pt x="751207" y="576703"/>
                    <a:pt x="582909" y="743238"/>
                    <a:pt x="375293" y="743238"/>
                  </a:cubicBezTo>
                  <a:cubicBezTo>
                    <a:pt x="167678" y="743238"/>
                    <a:pt x="-621" y="576703"/>
                    <a:pt x="-621" y="371280"/>
                  </a:cubicBezTo>
                  <a:close/>
                </a:path>
              </a:pathLst>
            </a:custGeom>
            <a:solidFill>
              <a:srgbClr val="008575"/>
            </a:solidFill>
            <a:ln w="7849" cap="flat">
              <a:noFill/>
              <a:prstDash val="solid"/>
              <a:miter/>
            </a:ln>
          </p:spPr>
          <p:txBody>
            <a:bodyPr rtlCol="0" anchor="ctr"/>
            <a:lstStyle/>
            <a:p>
              <a:endParaRPr lang="en-US"/>
            </a:p>
          </p:txBody>
        </p:sp>
        <p:sp>
          <p:nvSpPr>
            <p:cNvPr id="37" name="TextBox 36">
              <a:extLst>
                <a:ext uri="{FF2B5EF4-FFF2-40B4-BE49-F238E27FC236}">
                  <a16:creationId xmlns:a16="http://schemas.microsoft.com/office/drawing/2014/main" id="{9B343F40-DE7E-462F-8425-668F42548E8B}"/>
                </a:ext>
              </a:extLst>
            </p:cNvPr>
            <p:cNvSpPr txBox="1"/>
            <p:nvPr/>
          </p:nvSpPr>
          <p:spPr>
            <a:xfrm>
              <a:off x="4693278" y="5124390"/>
              <a:ext cx="645048" cy="813364"/>
            </a:xfrm>
            <a:prstGeom prst="rect">
              <a:avLst/>
            </a:prstGeom>
            <a:noFill/>
          </p:spPr>
          <p:txBody>
            <a:bodyPr wrap="none" lIns="182880" tIns="146304" rIns="182880" bIns="146304" rtlCol="0" anchor="ctr">
              <a:spAutoFit/>
            </a:bodyPr>
            <a:lstStyle/>
            <a:p>
              <a:pPr algn="ctr">
                <a:lnSpc>
                  <a:spcPct val="90000"/>
                </a:lnSpc>
                <a:spcAft>
                  <a:spcPts val="600"/>
                </a:spcAft>
              </a:pPr>
              <a:r>
                <a:rPr lang="en-US" sz="3739" b="1" spc="0" baseline="0" err="1">
                  <a:solidFill>
                    <a:srgbClr val="FFFFFF"/>
                  </a:solidFill>
                  <a:latin typeface="Segoe UI"/>
                  <a:cs typeface="Segoe UI"/>
                  <a:sym typeface="Segoe UI"/>
                  <a:rtl val="0"/>
                </a:rPr>
                <a:t>4</a:t>
              </a:r>
            </a:p>
          </p:txBody>
        </p:sp>
      </p:grpSp>
      <p:grpSp>
        <p:nvGrpSpPr>
          <p:cNvPr id="44" name="Group 43">
            <a:extLst>
              <a:ext uri="{FF2B5EF4-FFF2-40B4-BE49-F238E27FC236}">
                <a16:creationId xmlns:a16="http://schemas.microsoft.com/office/drawing/2014/main" id="{28C76032-64B2-43C6-A7C2-9452FC5361D6}"/>
              </a:ext>
            </a:extLst>
          </p:cNvPr>
          <p:cNvGrpSpPr/>
          <p:nvPr/>
        </p:nvGrpSpPr>
        <p:grpSpPr>
          <a:xfrm>
            <a:off x="4641367" y="1017899"/>
            <a:ext cx="751828" cy="743914"/>
            <a:chOff x="4641367" y="917315"/>
            <a:chExt cx="751828" cy="743914"/>
          </a:xfrm>
        </p:grpSpPr>
        <p:sp>
          <p:nvSpPr>
            <p:cNvPr id="39" name="Freeform: Shape 38">
              <a:extLst>
                <a:ext uri="{FF2B5EF4-FFF2-40B4-BE49-F238E27FC236}">
                  <a16:creationId xmlns:a16="http://schemas.microsoft.com/office/drawing/2014/main" id="{0F83B8F9-E847-4914-AD42-59CCA773E490}"/>
                </a:ext>
              </a:extLst>
            </p:cNvPr>
            <p:cNvSpPr/>
            <p:nvPr/>
          </p:nvSpPr>
          <p:spPr>
            <a:xfrm>
              <a:off x="4641367" y="917315"/>
              <a:ext cx="751828" cy="743914"/>
            </a:xfrm>
            <a:custGeom>
              <a:avLst/>
              <a:gdLst>
                <a:gd name="connsiteX0" fmla="*/ -621 w 751828"/>
                <a:gd name="connsiteY0" fmla="*/ 371832 h 743914"/>
                <a:gd name="connsiteX1" fmla="*/ 375293 w 751828"/>
                <a:gd name="connsiteY1" fmla="*/ -125 h 743914"/>
                <a:gd name="connsiteX2" fmla="*/ 751207 w 751828"/>
                <a:gd name="connsiteY2" fmla="*/ 371832 h 743914"/>
                <a:gd name="connsiteX3" fmla="*/ 375293 w 751828"/>
                <a:gd name="connsiteY3" fmla="*/ 743790 h 743914"/>
                <a:gd name="connsiteX4" fmla="*/ -621 w 751828"/>
                <a:gd name="connsiteY4" fmla="*/ 371832 h 7439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1828" h="743914">
                  <a:moveTo>
                    <a:pt x="-621" y="371832"/>
                  </a:moveTo>
                  <a:cubicBezTo>
                    <a:pt x="-621" y="166409"/>
                    <a:pt x="167678" y="-125"/>
                    <a:pt x="375293" y="-125"/>
                  </a:cubicBezTo>
                  <a:cubicBezTo>
                    <a:pt x="582909" y="-125"/>
                    <a:pt x="751207" y="166409"/>
                    <a:pt x="751207" y="371832"/>
                  </a:cubicBezTo>
                  <a:cubicBezTo>
                    <a:pt x="751207" y="577256"/>
                    <a:pt x="582909" y="743790"/>
                    <a:pt x="375293" y="743790"/>
                  </a:cubicBezTo>
                  <a:cubicBezTo>
                    <a:pt x="167678" y="743790"/>
                    <a:pt x="-621" y="577256"/>
                    <a:pt x="-621" y="371832"/>
                  </a:cubicBezTo>
                  <a:close/>
                </a:path>
              </a:pathLst>
            </a:custGeom>
            <a:solidFill>
              <a:srgbClr val="9BF00B"/>
            </a:solidFill>
            <a:ln w="7849" cap="flat">
              <a:noFill/>
              <a:prstDash val="solid"/>
              <a:miter/>
            </a:ln>
          </p:spPr>
          <p:txBody>
            <a:bodyPr rtlCol="0" anchor="ctr"/>
            <a:lstStyle/>
            <a:p>
              <a:endParaRPr lang="en-US"/>
            </a:p>
          </p:txBody>
        </p:sp>
        <p:sp>
          <p:nvSpPr>
            <p:cNvPr id="40" name="TextBox 39">
              <a:extLst>
                <a:ext uri="{FF2B5EF4-FFF2-40B4-BE49-F238E27FC236}">
                  <a16:creationId xmlns:a16="http://schemas.microsoft.com/office/drawing/2014/main" id="{B18FF949-DDA9-4A4C-9608-624A18179560}"/>
                </a:ext>
              </a:extLst>
            </p:cNvPr>
            <p:cNvSpPr txBox="1"/>
            <p:nvPr/>
          </p:nvSpPr>
          <p:spPr>
            <a:xfrm>
              <a:off x="4877942" y="1039776"/>
              <a:ext cx="275717" cy="517899"/>
            </a:xfrm>
            <a:prstGeom prst="rect">
              <a:avLst/>
            </a:prstGeom>
            <a:noFill/>
          </p:spPr>
          <p:txBody>
            <a:bodyPr wrap="none" lIns="0" tIns="0" rIns="0" bIns="0" rtlCol="0">
              <a:spAutoFit/>
            </a:bodyPr>
            <a:lstStyle/>
            <a:p>
              <a:pPr algn="ctr">
                <a:lnSpc>
                  <a:spcPct val="90000"/>
                </a:lnSpc>
                <a:spcAft>
                  <a:spcPts val="600"/>
                </a:spcAft>
              </a:pPr>
              <a:r>
                <a:rPr lang="en-US" sz="3739" b="1" spc="0" baseline="0" err="1">
                  <a:solidFill>
                    <a:srgbClr val="FFFFFF"/>
                  </a:solidFill>
                  <a:latin typeface="Segoe UI"/>
                  <a:cs typeface="Segoe UI"/>
                  <a:sym typeface="Segoe UI"/>
                  <a:rtl val="0"/>
                </a:rPr>
                <a:t>1</a:t>
              </a:r>
            </a:p>
          </p:txBody>
        </p:sp>
      </p:grpSp>
    </p:spTree>
    <p:extLst>
      <p:ext uri="{BB962C8B-B14F-4D97-AF65-F5344CB8AC3E}">
        <p14:creationId xmlns:p14="http://schemas.microsoft.com/office/powerpoint/2010/main" val="2866976474"/>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and Conten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0F7508-C740-42AB-B200-EB54F3078A5F}"/>
              </a:ext>
            </a:extLst>
          </p:cNvPr>
          <p:cNvSpPr>
            <a:spLocks noGrp="1"/>
          </p:cNvSpPr>
          <p:nvPr>
            <p:ph type="title"/>
          </p:nvPr>
        </p:nvSpPr>
        <p:spPr>
          <a:xfrm>
            <a:off x="426424" y="435824"/>
            <a:ext cx="11346476" cy="744014"/>
          </a:xfrm>
        </p:spPr>
        <p:txBody>
          <a:bodyPr/>
          <a:lstStyle>
            <a:lvl1pPr>
              <a:defRPr/>
            </a:lvl1pPr>
          </a:lstStyle>
          <a:p>
            <a:r>
              <a:rPr lang="en-US"/>
              <a:t>Click to edit Master title style</a:t>
            </a:r>
          </a:p>
        </p:txBody>
      </p:sp>
      <p:sp>
        <p:nvSpPr>
          <p:cNvPr id="7" name="Text Placeholder 6">
            <a:extLst>
              <a:ext uri="{FF2B5EF4-FFF2-40B4-BE49-F238E27FC236}">
                <a16:creationId xmlns:a16="http://schemas.microsoft.com/office/drawing/2014/main" id="{BE6E49A7-F7C3-4F2D-B920-B48630B9800C}"/>
              </a:ext>
            </a:extLst>
          </p:cNvPr>
          <p:cNvSpPr>
            <a:spLocks noGrp="1"/>
          </p:cNvSpPr>
          <p:nvPr>
            <p:ph type="body" sz="quarter" idx="10"/>
          </p:nvPr>
        </p:nvSpPr>
        <p:spPr>
          <a:xfrm>
            <a:off x="426424" y="1460500"/>
            <a:ext cx="11321076" cy="5041900"/>
          </a:xfrm>
        </p:spPr>
        <p:txBody>
          <a:bodyPr/>
          <a:lstStyle>
            <a:lvl2pPr marL="509847" indent="-285750">
              <a:buSzPct val="100000"/>
              <a:buFont typeface="Arial" panose="020B0604020202020204" pitchFamily="34" charset="0"/>
              <a:buChar char="•"/>
              <a:defRPr/>
            </a:lvl2pPr>
            <a:lvl3pPr marL="733943" indent="-285750">
              <a:buSzPct val="100000"/>
              <a:buFont typeface="Arial" panose="020B0604020202020204" pitchFamily="34" charset="0"/>
              <a:buChar char="–"/>
              <a:defRPr/>
            </a:lvl3pPr>
            <a:lvl4pPr marL="958040" indent="-285750">
              <a:buSzPct val="100000"/>
              <a:buFont typeface="Wingdings" panose="05000000000000000000" pitchFamily="2" charset="2"/>
              <a:buChar char="§"/>
              <a:defRPr/>
            </a:lvl4pPr>
            <a:lvl5pPr marL="1182136" indent="-285750">
              <a:buSzPct val="1000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7">
            <a:extLst>
              <a:ext uri="{FF2B5EF4-FFF2-40B4-BE49-F238E27FC236}">
                <a16:creationId xmlns:a16="http://schemas.microsoft.com/office/drawing/2014/main" id="{297C7971-09FC-4A7C-9657-21D91173B55B}"/>
              </a:ext>
            </a:extLst>
          </p:cNvPr>
          <p:cNvSpPr/>
          <p:nvPr/>
        </p:nvSpPr>
        <p:spPr bwMode="auto">
          <a:xfrm>
            <a:off x="0" y="0"/>
            <a:ext cx="12192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indent="-285750" algn="l">
              <a:lnSpc>
                <a:spcPct val="107000"/>
              </a:lnSpc>
              <a:spcBef>
                <a:spcPts val="0"/>
              </a:spcBef>
              <a:spcAft>
                <a:spcPts val="800"/>
              </a:spcAft>
              <a:buFont typeface="Arial" panose="020B0604020202020204" pitchFamily="34" charset="0"/>
              <a:buChar char="•"/>
            </a:pPr>
            <a:endParaRPr lang="en-US" sz="180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542433150"/>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Only">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0F7508-C740-42AB-B200-EB54F3078A5F}"/>
              </a:ext>
            </a:extLst>
          </p:cNvPr>
          <p:cNvSpPr>
            <a:spLocks noGrp="1"/>
          </p:cNvSpPr>
          <p:nvPr>
            <p:ph type="title"/>
          </p:nvPr>
        </p:nvSpPr>
        <p:spPr/>
        <p:txBody>
          <a:bodyPr/>
          <a:lstStyle>
            <a:lvl1pPr>
              <a:defRPr/>
            </a:lvl1pPr>
          </a:lstStyle>
          <a:p>
            <a:r>
              <a:rPr lang="en-US"/>
              <a:t>Click to edit Master title style</a:t>
            </a:r>
          </a:p>
        </p:txBody>
      </p:sp>
      <p:sp>
        <p:nvSpPr>
          <p:cNvPr id="4" name="Rectangle 3">
            <a:extLst>
              <a:ext uri="{FF2B5EF4-FFF2-40B4-BE49-F238E27FC236}">
                <a16:creationId xmlns:a16="http://schemas.microsoft.com/office/drawing/2014/main" id="{289A6215-ADAF-4F3A-B98D-BA4371B8E84F}"/>
              </a:ext>
            </a:extLst>
          </p:cNvPr>
          <p:cNvSpPr/>
          <p:nvPr/>
        </p:nvSpPr>
        <p:spPr bwMode="auto">
          <a:xfrm>
            <a:off x="0" y="0"/>
            <a:ext cx="12192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indent="-285750" algn="l">
              <a:lnSpc>
                <a:spcPct val="107000"/>
              </a:lnSpc>
              <a:spcBef>
                <a:spcPts val="0"/>
              </a:spcBef>
              <a:spcAft>
                <a:spcPts val="800"/>
              </a:spcAft>
              <a:buFont typeface="Arial" panose="020B0604020202020204" pitchFamily="34" charset="0"/>
              <a:buChar char="•"/>
            </a:pPr>
            <a:endParaRPr lang="en-US" sz="180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556291786"/>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0F7508-C740-42AB-B200-EB54F3078A5F}"/>
              </a:ext>
            </a:extLst>
          </p:cNvPr>
          <p:cNvSpPr>
            <a:spLocks noGrp="1"/>
          </p:cNvSpPr>
          <p:nvPr>
            <p:ph type="title"/>
          </p:nvPr>
        </p:nvSpPr>
        <p:spPr/>
        <p:txBody>
          <a:bodyPr/>
          <a:lstStyle>
            <a:lvl1pPr>
              <a:defRPr>
                <a:solidFill>
                  <a:sysClr val="windowText" lastClr="000000"/>
                </a:solidFill>
              </a:defRPr>
            </a:lvl1pPr>
          </a:lstStyle>
          <a:p>
            <a:r>
              <a:rPr lang="en-US"/>
              <a:t>Click to edit Master title style</a:t>
            </a:r>
          </a:p>
        </p:txBody>
      </p:sp>
    </p:spTree>
    <p:extLst>
      <p:ext uri="{BB962C8B-B14F-4D97-AF65-F5344CB8AC3E}">
        <p14:creationId xmlns:p14="http://schemas.microsoft.com/office/powerpoint/2010/main" val="3480785337"/>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and Subtitle">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0F7508-C740-42AB-B200-EB54F3078A5F}"/>
              </a:ext>
            </a:extLst>
          </p:cNvPr>
          <p:cNvSpPr>
            <a:spLocks noGrp="1"/>
          </p:cNvSpPr>
          <p:nvPr>
            <p:ph type="title"/>
          </p:nvPr>
        </p:nvSpPr>
        <p:spPr/>
        <p:txBody>
          <a:bodyPr/>
          <a:lstStyle>
            <a:lvl1pPr>
              <a:defRPr/>
            </a:lvl1pPr>
          </a:lstStyle>
          <a:p>
            <a:r>
              <a:rPr lang="en-US"/>
              <a:t>Click to edit Master title style</a:t>
            </a:r>
          </a:p>
        </p:txBody>
      </p:sp>
      <p:sp>
        <p:nvSpPr>
          <p:cNvPr id="4" name="Rectangle 3">
            <a:extLst>
              <a:ext uri="{FF2B5EF4-FFF2-40B4-BE49-F238E27FC236}">
                <a16:creationId xmlns:a16="http://schemas.microsoft.com/office/drawing/2014/main" id="{289A6215-ADAF-4F3A-B98D-BA4371B8E84F}"/>
              </a:ext>
            </a:extLst>
          </p:cNvPr>
          <p:cNvSpPr/>
          <p:nvPr/>
        </p:nvSpPr>
        <p:spPr bwMode="auto">
          <a:xfrm>
            <a:off x="0" y="0"/>
            <a:ext cx="12192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indent="-285750" algn="l">
              <a:lnSpc>
                <a:spcPct val="107000"/>
              </a:lnSpc>
              <a:spcBef>
                <a:spcPts val="0"/>
              </a:spcBef>
              <a:spcAft>
                <a:spcPts val="800"/>
              </a:spcAft>
              <a:buFont typeface="Arial" panose="020B0604020202020204" pitchFamily="34" charset="0"/>
              <a:buChar char="•"/>
            </a:pPr>
            <a:endParaRPr lang="en-US" sz="180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
        <p:nvSpPr>
          <p:cNvPr id="7" name="Text Placeholder 6">
            <a:extLst>
              <a:ext uri="{FF2B5EF4-FFF2-40B4-BE49-F238E27FC236}">
                <a16:creationId xmlns:a16="http://schemas.microsoft.com/office/drawing/2014/main" id="{BBC19DE9-B360-44AA-A772-92E46FF5FDBE}"/>
              </a:ext>
            </a:extLst>
          </p:cNvPr>
          <p:cNvSpPr>
            <a:spLocks noGrp="1"/>
          </p:cNvSpPr>
          <p:nvPr>
            <p:ph type="body" sz="quarter" idx="10" hasCustomPrompt="1"/>
          </p:nvPr>
        </p:nvSpPr>
        <p:spPr>
          <a:xfrm>
            <a:off x="419100" y="971550"/>
            <a:ext cx="11353800" cy="598488"/>
          </a:xfrm>
        </p:spPr>
        <p:txBody>
          <a:bodyPr/>
          <a:lstStyle>
            <a:lvl1pPr>
              <a:defRPr sz="2000"/>
            </a:lvl1pPr>
          </a:lstStyle>
          <a:p>
            <a:pPr lvl="0"/>
            <a:r>
              <a:rPr lang="en-US"/>
              <a:t>Subtitle</a:t>
            </a:r>
          </a:p>
        </p:txBody>
      </p:sp>
    </p:spTree>
    <p:extLst>
      <p:ext uri="{BB962C8B-B14F-4D97-AF65-F5344CB8AC3E}">
        <p14:creationId xmlns:p14="http://schemas.microsoft.com/office/powerpoint/2010/main" val="1914795861"/>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Photo Backgroud">
    <p:bg>
      <p:bgPr>
        <a:solidFill>
          <a:schemeClr val="bg1">
            <a:lumMod val="95000"/>
          </a:schemeClr>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9C802B4-648F-48DC-809F-9CA869D92965}"/>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45719"/>
            <a:ext cx="12192000" cy="6223519"/>
          </a:xfrm>
          <a:custGeom>
            <a:avLst/>
            <a:gdLst>
              <a:gd name="connsiteX0" fmla="*/ 0 w 12192000"/>
              <a:gd name="connsiteY0" fmla="*/ 0 h 1683657"/>
              <a:gd name="connsiteX1" fmla="*/ 12192000 w 12192000"/>
              <a:gd name="connsiteY1" fmla="*/ 0 h 1683657"/>
              <a:gd name="connsiteX2" fmla="*/ 12192000 w 12192000"/>
              <a:gd name="connsiteY2" fmla="*/ 1683657 h 1683657"/>
              <a:gd name="connsiteX3" fmla="*/ 0 w 12192000"/>
              <a:gd name="connsiteY3" fmla="*/ 1683657 h 1683657"/>
            </a:gdLst>
            <a:ahLst/>
            <a:cxnLst>
              <a:cxn ang="0">
                <a:pos x="connsiteX0" y="connsiteY0"/>
              </a:cxn>
              <a:cxn ang="0">
                <a:pos x="connsiteX1" y="connsiteY1"/>
              </a:cxn>
              <a:cxn ang="0">
                <a:pos x="connsiteX2" y="connsiteY2"/>
              </a:cxn>
              <a:cxn ang="0">
                <a:pos x="connsiteX3" y="connsiteY3"/>
              </a:cxn>
            </a:cxnLst>
            <a:rect l="l" t="t" r="r" b="b"/>
            <a:pathLst>
              <a:path w="12192000" h="1683657">
                <a:moveTo>
                  <a:pt x="0" y="0"/>
                </a:moveTo>
                <a:lnTo>
                  <a:pt x="12192000" y="0"/>
                </a:lnTo>
                <a:lnTo>
                  <a:pt x="12192000" y="1683657"/>
                </a:lnTo>
                <a:lnTo>
                  <a:pt x="0" y="1683657"/>
                </a:lnTo>
                <a:close/>
              </a:path>
            </a:pathLst>
          </a:custGeom>
        </p:spPr>
      </p:pic>
      <p:sp>
        <p:nvSpPr>
          <p:cNvPr id="2" name="Title 1">
            <a:extLst>
              <a:ext uri="{FF2B5EF4-FFF2-40B4-BE49-F238E27FC236}">
                <a16:creationId xmlns:a16="http://schemas.microsoft.com/office/drawing/2014/main" id="{700F7508-C740-42AB-B200-EB54F3078A5F}"/>
              </a:ext>
            </a:extLst>
          </p:cNvPr>
          <p:cNvSpPr>
            <a:spLocks noGrp="1"/>
          </p:cNvSpPr>
          <p:nvPr>
            <p:ph type="title"/>
          </p:nvPr>
        </p:nvSpPr>
        <p:spPr/>
        <p:txBody>
          <a:bodyPr/>
          <a:lstStyle>
            <a:lvl1pPr>
              <a:defRPr/>
            </a:lvl1pPr>
          </a:lstStyle>
          <a:p>
            <a:r>
              <a:rPr lang="en-US"/>
              <a:t>Click to edit Master title style</a:t>
            </a:r>
          </a:p>
        </p:txBody>
      </p:sp>
      <p:sp>
        <p:nvSpPr>
          <p:cNvPr id="4" name="Rectangle 3">
            <a:extLst>
              <a:ext uri="{FF2B5EF4-FFF2-40B4-BE49-F238E27FC236}">
                <a16:creationId xmlns:a16="http://schemas.microsoft.com/office/drawing/2014/main" id="{289A6215-ADAF-4F3A-B98D-BA4371B8E84F}"/>
              </a:ext>
            </a:extLst>
          </p:cNvPr>
          <p:cNvSpPr/>
          <p:nvPr/>
        </p:nvSpPr>
        <p:spPr bwMode="auto">
          <a:xfrm>
            <a:off x="0" y="0"/>
            <a:ext cx="12192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indent="-285750" algn="l">
              <a:lnSpc>
                <a:spcPct val="107000"/>
              </a:lnSpc>
              <a:spcBef>
                <a:spcPts val="0"/>
              </a:spcBef>
              <a:spcAft>
                <a:spcPts val="800"/>
              </a:spcAft>
              <a:buFont typeface="Arial" panose="020B0604020202020204" pitchFamily="34" charset="0"/>
              <a:buChar char="•"/>
            </a:pPr>
            <a:endParaRPr lang="en-US" sz="180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
        <p:nvSpPr>
          <p:cNvPr id="7" name="Text Placeholder 6">
            <a:extLst>
              <a:ext uri="{FF2B5EF4-FFF2-40B4-BE49-F238E27FC236}">
                <a16:creationId xmlns:a16="http://schemas.microsoft.com/office/drawing/2014/main" id="{BBC19DE9-B360-44AA-A772-92E46FF5FDBE}"/>
              </a:ext>
            </a:extLst>
          </p:cNvPr>
          <p:cNvSpPr>
            <a:spLocks noGrp="1"/>
          </p:cNvSpPr>
          <p:nvPr>
            <p:ph type="body" sz="quarter" idx="10" hasCustomPrompt="1"/>
          </p:nvPr>
        </p:nvSpPr>
        <p:spPr>
          <a:xfrm>
            <a:off x="419100" y="971550"/>
            <a:ext cx="11353800" cy="598488"/>
          </a:xfrm>
        </p:spPr>
        <p:txBody>
          <a:bodyPr/>
          <a:lstStyle>
            <a:lvl1pPr>
              <a:defRPr sz="2000"/>
            </a:lvl1pPr>
          </a:lstStyle>
          <a:p>
            <a:pPr lvl="0"/>
            <a:r>
              <a:rPr lang="en-US"/>
              <a:t>Subtitle</a:t>
            </a:r>
          </a:p>
        </p:txBody>
      </p:sp>
      <p:sp>
        <p:nvSpPr>
          <p:cNvPr id="3" name="Rectangle 2">
            <a:extLst>
              <a:ext uri="{FF2B5EF4-FFF2-40B4-BE49-F238E27FC236}">
                <a16:creationId xmlns:a16="http://schemas.microsoft.com/office/drawing/2014/main" id="{C7A97D39-E85A-473E-A209-25B8CE15BE4B}"/>
              </a:ext>
            </a:extLst>
          </p:cNvPr>
          <p:cNvSpPr/>
          <p:nvPr/>
        </p:nvSpPr>
        <p:spPr bwMode="auto">
          <a:xfrm>
            <a:off x="0" y="-1"/>
            <a:ext cx="12192000" cy="6223519"/>
          </a:xfrm>
          <a:prstGeom prst="rect">
            <a:avLst/>
          </a:prstGeom>
          <a:solidFill>
            <a:schemeClr val="tx1">
              <a:alpha val="7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indent="-285750" algn="l">
              <a:lnSpc>
                <a:spcPct val="107000"/>
              </a:lnSpc>
              <a:spcBef>
                <a:spcPts val="0"/>
              </a:spcBef>
              <a:spcAft>
                <a:spcPts val="800"/>
              </a:spcAft>
              <a:buFont typeface="Arial" panose="020B0604020202020204" pitchFamily="34" charset="0"/>
              <a:buChar char="•"/>
            </a:pPr>
            <a:endParaRPr lang="en-IN" sz="180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72314123"/>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Blank">
    <p:bg>
      <p:bgPr>
        <a:solidFill>
          <a:schemeClr val="bg1">
            <a:lumMod val="95000"/>
          </a:schemeClr>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89A6215-ADAF-4F3A-B98D-BA4371B8E84F}"/>
              </a:ext>
            </a:extLst>
          </p:cNvPr>
          <p:cNvSpPr/>
          <p:nvPr/>
        </p:nvSpPr>
        <p:spPr bwMode="auto">
          <a:xfrm>
            <a:off x="0" y="0"/>
            <a:ext cx="12192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indent="-285750" algn="l">
              <a:lnSpc>
                <a:spcPct val="107000"/>
              </a:lnSpc>
              <a:spcBef>
                <a:spcPts val="0"/>
              </a:spcBef>
              <a:spcAft>
                <a:spcPts val="800"/>
              </a:spcAft>
              <a:buFont typeface="Arial" panose="020B0604020202020204" pitchFamily="34" charset="0"/>
              <a:buChar char="•"/>
            </a:pPr>
            <a:endParaRPr lang="en-US" sz="180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937079859"/>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itle and two columns">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0F7508-C740-42AB-B200-EB54F3078A5F}"/>
              </a:ext>
            </a:extLst>
          </p:cNvPr>
          <p:cNvSpPr>
            <a:spLocks noGrp="1"/>
          </p:cNvSpPr>
          <p:nvPr>
            <p:ph type="title"/>
          </p:nvPr>
        </p:nvSpPr>
        <p:spPr>
          <a:xfrm>
            <a:off x="426424" y="435824"/>
            <a:ext cx="11346476" cy="744014"/>
          </a:xfrm>
        </p:spPr>
        <p:txBody>
          <a:bodyPr/>
          <a:lstStyle>
            <a:lvl1pPr>
              <a:defRPr/>
            </a:lvl1pPr>
          </a:lstStyle>
          <a:p>
            <a:r>
              <a:rPr lang="en-US"/>
              <a:t>Click to edit Master title style</a:t>
            </a:r>
          </a:p>
        </p:txBody>
      </p:sp>
      <p:sp>
        <p:nvSpPr>
          <p:cNvPr id="7" name="Text Placeholder 6">
            <a:extLst>
              <a:ext uri="{FF2B5EF4-FFF2-40B4-BE49-F238E27FC236}">
                <a16:creationId xmlns:a16="http://schemas.microsoft.com/office/drawing/2014/main" id="{BE6E49A7-F7C3-4F2D-B920-B48630B9800C}"/>
              </a:ext>
            </a:extLst>
          </p:cNvPr>
          <p:cNvSpPr>
            <a:spLocks noGrp="1"/>
          </p:cNvSpPr>
          <p:nvPr>
            <p:ph type="body" sz="quarter" idx="10"/>
          </p:nvPr>
        </p:nvSpPr>
        <p:spPr>
          <a:xfrm>
            <a:off x="426424" y="1460500"/>
            <a:ext cx="5567976" cy="5041900"/>
          </a:xfrm>
        </p:spPr>
        <p:txBody>
          <a:bodyPr/>
          <a:lstStyle>
            <a:lvl2pPr marL="509847" indent="-285750">
              <a:buSzPct val="100000"/>
              <a:buFont typeface="Arial" panose="020B0604020202020204" pitchFamily="34" charset="0"/>
              <a:buChar char="•"/>
              <a:defRPr/>
            </a:lvl2pPr>
            <a:lvl3pPr marL="733943" indent="-285750">
              <a:buSzPct val="100000"/>
              <a:buFont typeface="Arial" panose="020B0604020202020204" pitchFamily="34" charset="0"/>
              <a:buChar char="–"/>
              <a:defRPr/>
            </a:lvl3pPr>
            <a:lvl4pPr marL="958040" indent="-285750">
              <a:buSzPct val="100000"/>
              <a:buFont typeface="Wingdings" panose="05000000000000000000" pitchFamily="2" charset="2"/>
              <a:buChar char="§"/>
              <a:defRPr/>
            </a:lvl4pPr>
            <a:lvl5pPr marL="1182136" indent="-285750">
              <a:buSzPct val="1000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7">
            <a:extLst>
              <a:ext uri="{FF2B5EF4-FFF2-40B4-BE49-F238E27FC236}">
                <a16:creationId xmlns:a16="http://schemas.microsoft.com/office/drawing/2014/main" id="{297C7971-09FC-4A7C-9657-21D91173B55B}"/>
              </a:ext>
            </a:extLst>
          </p:cNvPr>
          <p:cNvSpPr/>
          <p:nvPr/>
        </p:nvSpPr>
        <p:spPr bwMode="auto">
          <a:xfrm>
            <a:off x="0" y="0"/>
            <a:ext cx="12192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indent="-285750" algn="l">
              <a:lnSpc>
                <a:spcPct val="107000"/>
              </a:lnSpc>
              <a:spcBef>
                <a:spcPts val="0"/>
              </a:spcBef>
              <a:spcAft>
                <a:spcPts val="800"/>
              </a:spcAft>
              <a:buFont typeface="Arial" panose="020B0604020202020204" pitchFamily="34" charset="0"/>
              <a:buChar char="•"/>
            </a:pPr>
            <a:endParaRPr lang="en-US" sz="180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
        <p:nvSpPr>
          <p:cNvPr id="5" name="Text Placeholder 6">
            <a:extLst>
              <a:ext uri="{FF2B5EF4-FFF2-40B4-BE49-F238E27FC236}">
                <a16:creationId xmlns:a16="http://schemas.microsoft.com/office/drawing/2014/main" id="{20A70CEA-7142-46F0-B432-B055AD568A96}"/>
              </a:ext>
            </a:extLst>
          </p:cNvPr>
          <p:cNvSpPr>
            <a:spLocks noGrp="1"/>
          </p:cNvSpPr>
          <p:nvPr>
            <p:ph type="body" sz="quarter" idx="11"/>
          </p:nvPr>
        </p:nvSpPr>
        <p:spPr>
          <a:xfrm>
            <a:off x="6204924" y="1460500"/>
            <a:ext cx="5567976" cy="5041900"/>
          </a:xfrm>
        </p:spPr>
        <p:txBody>
          <a:bodyPr/>
          <a:lstStyle>
            <a:lvl2pPr marL="509847" indent="-285750">
              <a:buSzPct val="100000"/>
              <a:buFont typeface="Arial" panose="020B0604020202020204" pitchFamily="34" charset="0"/>
              <a:buChar char="•"/>
              <a:defRPr/>
            </a:lvl2pPr>
            <a:lvl3pPr marL="733943" indent="-285750">
              <a:buSzPct val="100000"/>
              <a:buFont typeface="Arial" panose="020B0604020202020204" pitchFamily="34" charset="0"/>
              <a:buChar char="–"/>
              <a:defRPr/>
            </a:lvl3pPr>
            <a:lvl4pPr marL="958040" indent="-285750">
              <a:buSzPct val="100000"/>
              <a:buFont typeface="Wingdings" panose="05000000000000000000" pitchFamily="2" charset="2"/>
              <a:buChar char="§"/>
              <a:defRPr/>
            </a:lvl4pPr>
            <a:lvl5pPr marL="1182136" indent="-285750">
              <a:buSzPct val="1000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8275590"/>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5861691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1_Title and two columns">
    <p:bg>
      <p:bgPr>
        <a:solidFill>
          <a:schemeClr val="bg1">
            <a:lumMod val="95000"/>
          </a:schemeClr>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BE6E49A7-F7C3-4F2D-B920-B48630B9800C}"/>
              </a:ext>
            </a:extLst>
          </p:cNvPr>
          <p:cNvSpPr>
            <a:spLocks noGrp="1"/>
          </p:cNvSpPr>
          <p:nvPr>
            <p:ph type="body" sz="quarter" idx="10"/>
          </p:nvPr>
        </p:nvSpPr>
        <p:spPr>
          <a:xfrm>
            <a:off x="426424" y="2178050"/>
            <a:ext cx="5567976" cy="4324350"/>
          </a:xfrm>
          <a:ln w="6350">
            <a:solidFill>
              <a:schemeClr val="bg1">
                <a:lumMod val="75000"/>
              </a:schemeClr>
            </a:solidFill>
          </a:ln>
        </p:spPr>
        <p:txBody>
          <a:bodyPr lIns="91440" tIns="45720" rIns="91440" bIns="45720"/>
          <a:lstStyle>
            <a:lvl1pPr>
              <a:defRPr sz="1800"/>
            </a:lvl1pPr>
            <a:lvl2pPr marL="509847" indent="-285750">
              <a:buSzPct val="100000"/>
              <a:buFont typeface="Arial" panose="020B0604020202020204" pitchFamily="34" charset="0"/>
              <a:buChar char="•"/>
              <a:defRPr sz="1400"/>
            </a:lvl2pPr>
            <a:lvl3pPr marL="733943" indent="-285750">
              <a:buSzPct val="100000"/>
              <a:buFont typeface="Arial" panose="020B0604020202020204" pitchFamily="34" charset="0"/>
              <a:buChar char="–"/>
              <a:defRPr sz="1100"/>
            </a:lvl3pPr>
            <a:lvl4pPr marL="958040" indent="-285750">
              <a:buSzPct val="100000"/>
              <a:buFont typeface="Wingdings" panose="05000000000000000000" pitchFamily="2" charset="2"/>
              <a:buChar char="§"/>
              <a:defRPr sz="1100"/>
            </a:lvl4pPr>
            <a:lvl5pPr marL="1182136" indent="-285750">
              <a:buSzPct val="100000"/>
              <a:buFont typeface="Arial" panose="020B0604020202020204" pitchFamily="34" charset="0"/>
              <a:buChar char="•"/>
              <a:defRPr sz="1100"/>
            </a:lvl5pPr>
          </a:lstStyle>
          <a:p>
            <a:pPr lvl="0"/>
            <a:r>
              <a:rPr lang="en-US"/>
              <a:t>Click to edit Master text styles</a:t>
            </a:r>
          </a:p>
        </p:txBody>
      </p:sp>
      <p:sp>
        <p:nvSpPr>
          <p:cNvPr id="5" name="Text Placeholder 6">
            <a:extLst>
              <a:ext uri="{FF2B5EF4-FFF2-40B4-BE49-F238E27FC236}">
                <a16:creationId xmlns:a16="http://schemas.microsoft.com/office/drawing/2014/main" id="{20A70CEA-7142-46F0-B432-B055AD568A96}"/>
              </a:ext>
            </a:extLst>
          </p:cNvPr>
          <p:cNvSpPr>
            <a:spLocks noGrp="1"/>
          </p:cNvSpPr>
          <p:nvPr>
            <p:ph type="body" sz="quarter" idx="11"/>
          </p:nvPr>
        </p:nvSpPr>
        <p:spPr>
          <a:xfrm>
            <a:off x="6204924" y="2178050"/>
            <a:ext cx="5567976" cy="4324350"/>
          </a:xfrm>
          <a:ln w="6350">
            <a:solidFill>
              <a:schemeClr val="bg1">
                <a:lumMod val="75000"/>
              </a:schemeClr>
            </a:solidFill>
          </a:ln>
        </p:spPr>
        <p:txBody>
          <a:bodyPr lIns="91440" tIns="45720" rIns="91440" bIns="45720"/>
          <a:lstStyle>
            <a:lvl1pPr>
              <a:defRPr sz="1800"/>
            </a:lvl1pPr>
            <a:lvl2pPr marL="509847" indent="-285750">
              <a:buSzPct val="100000"/>
              <a:buFont typeface="Arial" panose="020B0604020202020204" pitchFamily="34" charset="0"/>
              <a:buChar char="•"/>
              <a:defRPr sz="1400"/>
            </a:lvl2pPr>
            <a:lvl3pPr marL="733943" indent="-285750">
              <a:buSzPct val="100000"/>
              <a:buFont typeface="Arial" panose="020B0604020202020204" pitchFamily="34" charset="0"/>
              <a:buChar char="–"/>
              <a:defRPr sz="1100"/>
            </a:lvl3pPr>
            <a:lvl4pPr marL="958040" indent="-285750">
              <a:buSzPct val="100000"/>
              <a:buFont typeface="Wingdings" panose="05000000000000000000" pitchFamily="2" charset="2"/>
              <a:buChar char="§"/>
              <a:defRPr sz="1100"/>
            </a:lvl4pPr>
            <a:lvl5pPr marL="1182136" indent="-285750">
              <a:buSzPct val="100000"/>
              <a:buFont typeface="Arial" panose="020B0604020202020204" pitchFamily="34" charset="0"/>
              <a:buChar char="•"/>
              <a:defRPr sz="1100"/>
            </a:lvl5pPr>
          </a:lstStyle>
          <a:p>
            <a:pPr lvl="0"/>
            <a:r>
              <a:rPr lang="en-US"/>
              <a:t>Click to edit Master text styles</a:t>
            </a:r>
          </a:p>
        </p:txBody>
      </p:sp>
      <p:sp>
        <p:nvSpPr>
          <p:cNvPr id="2" name="Title 1">
            <a:extLst>
              <a:ext uri="{FF2B5EF4-FFF2-40B4-BE49-F238E27FC236}">
                <a16:creationId xmlns:a16="http://schemas.microsoft.com/office/drawing/2014/main" id="{700F7508-C740-42AB-B200-EB54F3078A5F}"/>
              </a:ext>
            </a:extLst>
          </p:cNvPr>
          <p:cNvSpPr>
            <a:spLocks noGrp="1"/>
          </p:cNvSpPr>
          <p:nvPr>
            <p:ph type="title"/>
          </p:nvPr>
        </p:nvSpPr>
        <p:spPr>
          <a:xfrm>
            <a:off x="426424" y="435824"/>
            <a:ext cx="11346476" cy="744014"/>
          </a:xfrm>
        </p:spPr>
        <p:txBody>
          <a:bodyPr/>
          <a:lstStyle>
            <a:lvl1pPr>
              <a:defRPr/>
            </a:lvl1pPr>
          </a:lstStyle>
          <a:p>
            <a:r>
              <a:rPr lang="en-US"/>
              <a:t>Click to edit Master title style</a:t>
            </a:r>
          </a:p>
        </p:txBody>
      </p:sp>
      <p:sp>
        <p:nvSpPr>
          <p:cNvPr id="8" name="Rectangle 7">
            <a:extLst>
              <a:ext uri="{FF2B5EF4-FFF2-40B4-BE49-F238E27FC236}">
                <a16:creationId xmlns:a16="http://schemas.microsoft.com/office/drawing/2014/main" id="{297C7971-09FC-4A7C-9657-21D91173B55B}"/>
              </a:ext>
            </a:extLst>
          </p:cNvPr>
          <p:cNvSpPr/>
          <p:nvPr/>
        </p:nvSpPr>
        <p:spPr bwMode="auto">
          <a:xfrm>
            <a:off x="0" y="0"/>
            <a:ext cx="12192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indent="-285750" algn="l">
              <a:lnSpc>
                <a:spcPct val="107000"/>
              </a:lnSpc>
              <a:spcBef>
                <a:spcPts val="0"/>
              </a:spcBef>
              <a:spcAft>
                <a:spcPts val="800"/>
              </a:spcAft>
              <a:buFont typeface="Arial" panose="020B0604020202020204" pitchFamily="34" charset="0"/>
              <a:buChar char="•"/>
            </a:pPr>
            <a:endParaRPr lang="en-US" sz="180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
        <p:nvSpPr>
          <p:cNvPr id="6" name="Text Placeholder 6">
            <a:extLst>
              <a:ext uri="{FF2B5EF4-FFF2-40B4-BE49-F238E27FC236}">
                <a16:creationId xmlns:a16="http://schemas.microsoft.com/office/drawing/2014/main" id="{730258F3-7A5F-4FFB-8667-C5DA4058E963}"/>
              </a:ext>
            </a:extLst>
          </p:cNvPr>
          <p:cNvSpPr>
            <a:spLocks noGrp="1"/>
          </p:cNvSpPr>
          <p:nvPr>
            <p:ph type="body" sz="quarter" idx="12" hasCustomPrompt="1"/>
          </p:nvPr>
        </p:nvSpPr>
        <p:spPr>
          <a:xfrm>
            <a:off x="426424" y="1454150"/>
            <a:ext cx="5567976" cy="723900"/>
          </a:xfrm>
          <a:solidFill>
            <a:schemeClr val="accent2"/>
          </a:solidFill>
          <a:ln w="6350">
            <a:solidFill>
              <a:schemeClr val="accent2"/>
            </a:solidFill>
          </a:ln>
        </p:spPr>
        <p:txBody>
          <a:bodyPr lIns="91440" tIns="45720" rIns="91440" bIns="45720" anchor="ctr"/>
          <a:lstStyle>
            <a:lvl1pPr>
              <a:defRPr>
                <a:solidFill>
                  <a:schemeClr val="bg1"/>
                </a:solidFill>
                <a:latin typeface="+mj-lt"/>
              </a:defRPr>
            </a:lvl1pPr>
            <a:lvl2pPr marL="509847" indent="-285750">
              <a:buSzPct val="100000"/>
              <a:buFont typeface="Arial" panose="020B0604020202020204" pitchFamily="34" charset="0"/>
              <a:buChar char="•"/>
              <a:defRPr>
                <a:solidFill>
                  <a:schemeClr val="bg1"/>
                </a:solidFill>
              </a:defRPr>
            </a:lvl2pPr>
            <a:lvl3pPr marL="733943" indent="-285750">
              <a:buSzPct val="100000"/>
              <a:buFont typeface="Arial" panose="020B0604020202020204" pitchFamily="34" charset="0"/>
              <a:buChar char="–"/>
              <a:defRPr>
                <a:solidFill>
                  <a:schemeClr val="bg1"/>
                </a:solidFill>
              </a:defRPr>
            </a:lvl3pPr>
            <a:lvl4pPr marL="958040" indent="-285750">
              <a:buSzPct val="100000"/>
              <a:buFont typeface="Wingdings" panose="05000000000000000000" pitchFamily="2" charset="2"/>
              <a:buChar char="§"/>
              <a:defRPr>
                <a:solidFill>
                  <a:schemeClr val="bg1"/>
                </a:solidFill>
              </a:defRPr>
            </a:lvl4pPr>
            <a:lvl5pPr marL="1182136" indent="-285750">
              <a:buSzPct val="100000"/>
              <a:buFont typeface="Arial" panose="020B0604020202020204" pitchFamily="34" charset="0"/>
              <a:buChar char="•"/>
              <a:defRPr>
                <a:solidFill>
                  <a:schemeClr val="bg1"/>
                </a:solidFill>
              </a:defRPr>
            </a:lvl5pPr>
          </a:lstStyle>
          <a:p>
            <a:pPr lvl="0"/>
            <a:r>
              <a:rPr lang="en-US"/>
              <a:t>Heading goes here</a:t>
            </a:r>
          </a:p>
        </p:txBody>
      </p:sp>
      <p:sp>
        <p:nvSpPr>
          <p:cNvPr id="9" name="Text Placeholder 6">
            <a:extLst>
              <a:ext uri="{FF2B5EF4-FFF2-40B4-BE49-F238E27FC236}">
                <a16:creationId xmlns:a16="http://schemas.microsoft.com/office/drawing/2014/main" id="{D4F4AFD8-C02D-46F3-97CB-02FFA84E963F}"/>
              </a:ext>
            </a:extLst>
          </p:cNvPr>
          <p:cNvSpPr>
            <a:spLocks noGrp="1"/>
          </p:cNvSpPr>
          <p:nvPr>
            <p:ph type="body" sz="quarter" idx="13" hasCustomPrompt="1"/>
          </p:nvPr>
        </p:nvSpPr>
        <p:spPr>
          <a:xfrm>
            <a:off x="6204924" y="1454150"/>
            <a:ext cx="5567976" cy="723900"/>
          </a:xfrm>
          <a:solidFill>
            <a:schemeClr val="accent2"/>
          </a:solidFill>
          <a:ln w="6350">
            <a:solidFill>
              <a:schemeClr val="accent2"/>
            </a:solidFill>
          </a:ln>
        </p:spPr>
        <p:txBody>
          <a:bodyPr lIns="91440" tIns="45720" rIns="91440" bIns="45720" anchor="ctr"/>
          <a:lstStyle>
            <a:lvl1pPr>
              <a:defRPr>
                <a:solidFill>
                  <a:schemeClr val="bg1"/>
                </a:solidFill>
                <a:latin typeface="+mj-lt"/>
              </a:defRPr>
            </a:lvl1pPr>
            <a:lvl2pPr marL="509847" indent="-285750">
              <a:buSzPct val="100000"/>
              <a:buFont typeface="Arial" panose="020B0604020202020204" pitchFamily="34" charset="0"/>
              <a:buChar char="•"/>
              <a:defRPr>
                <a:solidFill>
                  <a:schemeClr val="bg1"/>
                </a:solidFill>
                <a:latin typeface="+mj-lt"/>
              </a:defRPr>
            </a:lvl2pPr>
            <a:lvl3pPr marL="733943" indent="-285750">
              <a:buSzPct val="100000"/>
              <a:buFont typeface="Arial" panose="020B0604020202020204" pitchFamily="34" charset="0"/>
              <a:buChar char="–"/>
              <a:defRPr>
                <a:solidFill>
                  <a:schemeClr val="bg1"/>
                </a:solidFill>
                <a:latin typeface="+mj-lt"/>
              </a:defRPr>
            </a:lvl3pPr>
            <a:lvl4pPr marL="958040" indent="-285750">
              <a:buSzPct val="100000"/>
              <a:buFont typeface="Wingdings" panose="05000000000000000000" pitchFamily="2" charset="2"/>
              <a:buChar char="§"/>
              <a:defRPr>
                <a:solidFill>
                  <a:schemeClr val="bg1"/>
                </a:solidFill>
                <a:latin typeface="+mj-lt"/>
              </a:defRPr>
            </a:lvl4pPr>
            <a:lvl5pPr marL="1182136" indent="-285750">
              <a:buSzPct val="100000"/>
              <a:buFont typeface="Arial" panose="020B0604020202020204" pitchFamily="34" charset="0"/>
              <a:buChar char="•"/>
              <a:defRPr>
                <a:solidFill>
                  <a:schemeClr val="bg1"/>
                </a:solidFill>
                <a:latin typeface="+mj-lt"/>
              </a:defRPr>
            </a:lvl5pPr>
          </a:lstStyle>
          <a:p>
            <a:pPr lvl="0"/>
            <a:r>
              <a:rPr lang="en-US"/>
              <a:t>Heading goes here</a:t>
            </a:r>
          </a:p>
        </p:txBody>
      </p:sp>
    </p:spTree>
    <p:extLst>
      <p:ext uri="{BB962C8B-B14F-4D97-AF65-F5344CB8AC3E}">
        <p14:creationId xmlns:p14="http://schemas.microsoft.com/office/powerpoint/2010/main" val="2181099289"/>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3 columns bulleted text ">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0F7508-C740-42AB-B200-EB54F3078A5F}"/>
              </a:ext>
            </a:extLst>
          </p:cNvPr>
          <p:cNvSpPr>
            <a:spLocks noGrp="1"/>
          </p:cNvSpPr>
          <p:nvPr>
            <p:ph type="title"/>
          </p:nvPr>
        </p:nvSpPr>
        <p:spPr>
          <a:xfrm>
            <a:off x="426424" y="435824"/>
            <a:ext cx="11346476" cy="744014"/>
          </a:xfrm>
        </p:spPr>
        <p:txBody>
          <a:bodyPr/>
          <a:lstStyle>
            <a:lvl1pPr>
              <a:defRPr/>
            </a:lvl1pPr>
          </a:lstStyle>
          <a:p>
            <a:r>
              <a:rPr lang="en-US"/>
              <a:t>Click to edit Master title style</a:t>
            </a:r>
          </a:p>
        </p:txBody>
      </p:sp>
      <p:sp>
        <p:nvSpPr>
          <p:cNvPr id="8" name="Rectangle 7">
            <a:extLst>
              <a:ext uri="{FF2B5EF4-FFF2-40B4-BE49-F238E27FC236}">
                <a16:creationId xmlns:a16="http://schemas.microsoft.com/office/drawing/2014/main" id="{297C7971-09FC-4A7C-9657-21D91173B55B}"/>
              </a:ext>
            </a:extLst>
          </p:cNvPr>
          <p:cNvSpPr/>
          <p:nvPr/>
        </p:nvSpPr>
        <p:spPr bwMode="auto">
          <a:xfrm>
            <a:off x="0" y="0"/>
            <a:ext cx="12192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indent="-285750" algn="l">
              <a:lnSpc>
                <a:spcPct val="107000"/>
              </a:lnSpc>
              <a:spcBef>
                <a:spcPts val="0"/>
              </a:spcBef>
              <a:spcAft>
                <a:spcPts val="800"/>
              </a:spcAft>
              <a:buFont typeface="Arial" panose="020B0604020202020204" pitchFamily="34" charset="0"/>
              <a:buChar char="•"/>
            </a:pPr>
            <a:endParaRPr lang="en-US" sz="180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
        <p:nvSpPr>
          <p:cNvPr id="3" name="Rectangle 2">
            <a:extLst>
              <a:ext uri="{FF2B5EF4-FFF2-40B4-BE49-F238E27FC236}">
                <a16:creationId xmlns:a16="http://schemas.microsoft.com/office/drawing/2014/main" id="{711D3AE6-CECF-456A-8FED-AAC713610031}"/>
              </a:ext>
            </a:extLst>
          </p:cNvPr>
          <p:cNvSpPr/>
          <p:nvPr/>
        </p:nvSpPr>
        <p:spPr bwMode="auto">
          <a:xfrm>
            <a:off x="0" y="1409028"/>
            <a:ext cx="12192000" cy="1360803"/>
          </a:xfrm>
          <a:prstGeom prst="rect">
            <a:avLst/>
          </a:prstGeom>
          <a:solidFill>
            <a:schemeClr val="bg1">
              <a:lumMod val="85000"/>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nSpc>
                <a:spcPct val="107000"/>
              </a:lnSpc>
              <a:spcBef>
                <a:spcPts val="0"/>
              </a:spcBef>
              <a:spcAft>
                <a:spcPts val="800"/>
              </a:spcAft>
              <a:buFont typeface="Arial" panose="020B0604020202020204" pitchFamily="34" charset="0"/>
              <a:buChar char="•"/>
            </a:pPr>
            <a:endParaRPr lang="en-US" b="1">
              <a:solidFill>
                <a:schemeClr val="bg1">
                  <a:lumMod val="85000"/>
                </a:schemeClr>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
        <p:nvSpPr>
          <p:cNvPr id="37" name="Text Placeholder 5">
            <a:extLst>
              <a:ext uri="{FF2B5EF4-FFF2-40B4-BE49-F238E27FC236}">
                <a16:creationId xmlns:a16="http://schemas.microsoft.com/office/drawing/2014/main" id="{10C04D89-B60B-4299-B458-B215686307BF}"/>
              </a:ext>
            </a:extLst>
          </p:cNvPr>
          <p:cNvSpPr>
            <a:spLocks noGrp="1"/>
          </p:cNvSpPr>
          <p:nvPr>
            <p:ph type="body" sz="quarter" idx="12" hasCustomPrompt="1"/>
          </p:nvPr>
        </p:nvSpPr>
        <p:spPr>
          <a:xfrm>
            <a:off x="419100" y="1631395"/>
            <a:ext cx="3621087" cy="637712"/>
          </a:xfrm>
        </p:spPr>
        <p:txBody>
          <a:bodyPr anchor="b"/>
          <a:lstStyle>
            <a:lvl1pPr>
              <a:defRPr sz="1800">
                <a:latin typeface="+mj-lt"/>
              </a:defRPr>
            </a:lvl1pPr>
          </a:lstStyle>
          <a:p>
            <a:pPr lvl="0"/>
            <a:r>
              <a:rPr lang="en-US"/>
              <a:t>Heading</a:t>
            </a:r>
          </a:p>
        </p:txBody>
      </p:sp>
      <p:sp>
        <p:nvSpPr>
          <p:cNvPr id="38" name="Text Placeholder 5">
            <a:extLst>
              <a:ext uri="{FF2B5EF4-FFF2-40B4-BE49-F238E27FC236}">
                <a16:creationId xmlns:a16="http://schemas.microsoft.com/office/drawing/2014/main" id="{021B6952-0338-434D-A51D-3F46920D5F89}"/>
              </a:ext>
            </a:extLst>
          </p:cNvPr>
          <p:cNvSpPr>
            <a:spLocks noGrp="1"/>
          </p:cNvSpPr>
          <p:nvPr>
            <p:ph type="body" sz="quarter" idx="13" hasCustomPrompt="1"/>
          </p:nvPr>
        </p:nvSpPr>
        <p:spPr>
          <a:xfrm>
            <a:off x="4294983" y="1631395"/>
            <a:ext cx="3621087" cy="637712"/>
          </a:xfrm>
        </p:spPr>
        <p:txBody>
          <a:bodyPr anchor="b"/>
          <a:lstStyle>
            <a:lvl1pPr>
              <a:defRPr sz="1800">
                <a:latin typeface="+mj-lt"/>
              </a:defRPr>
            </a:lvl1pPr>
          </a:lstStyle>
          <a:p>
            <a:pPr lvl="0"/>
            <a:r>
              <a:rPr lang="en-US"/>
              <a:t>Heading</a:t>
            </a:r>
          </a:p>
        </p:txBody>
      </p:sp>
      <p:sp>
        <p:nvSpPr>
          <p:cNvPr id="39" name="Text Placeholder 5">
            <a:extLst>
              <a:ext uri="{FF2B5EF4-FFF2-40B4-BE49-F238E27FC236}">
                <a16:creationId xmlns:a16="http://schemas.microsoft.com/office/drawing/2014/main" id="{E4B77E89-40A8-4081-ADA1-AB33C158E5C8}"/>
              </a:ext>
            </a:extLst>
          </p:cNvPr>
          <p:cNvSpPr>
            <a:spLocks noGrp="1"/>
          </p:cNvSpPr>
          <p:nvPr>
            <p:ph type="body" sz="quarter" idx="14" hasCustomPrompt="1"/>
          </p:nvPr>
        </p:nvSpPr>
        <p:spPr>
          <a:xfrm>
            <a:off x="8170866" y="1631395"/>
            <a:ext cx="3621087" cy="637712"/>
          </a:xfrm>
        </p:spPr>
        <p:txBody>
          <a:bodyPr anchor="b"/>
          <a:lstStyle>
            <a:lvl1pPr>
              <a:defRPr sz="1800">
                <a:latin typeface="+mj-lt"/>
              </a:defRPr>
            </a:lvl1pPr>
          </a:lstStyle>
          <a:p>
            <a:pPr lvl="0"/>
            <a:r>
              <a:rPr lang="en-US"/>
              <a:t>Heading</a:t>
            </a:r>
          </a:p>
        </p:txBody>
      </p:sp>
      <p:sp>
        <p:nvSpPr>
          <p:cNvPr id="40" name="Oval 39">
            <a:extLst>
              <a:ext uri="{FF2B5EF4-FFF2-40B4-BE49-F238E27FC236}">
                <a16:creationId xmlns:a16="http://schemas.microsoft.com/office/drawing/2014/main" id="{99EE5533-97B5-4D28-A867-CED7AF74D115}"/>
              </a:ext>
            </a:extLst>
          </p:cNvPr>
          <p:cNvSpPr/>
          <p:nvPr/>
        </p:nvSpPr>
        <p:spPr bwMode="auto">
          <a:xfrm>
            <a:off x="430974" y="2421507"/>
            <a:ext cx="696648" cy="696648"/>
          </a:xfrm>
          <a:prstGeom prst="ellipse">
            <a:avLst/>
          </a:prstGeom>
          <a:solidFill>
            <a:srgbClr val="127010"/>
          </a:solidFill>
          <a:ln w="60325">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indent="-285750">
              <a:spcBef>
                <a:spcPts val="0"/>
              </a:spcBef>
              <a:spcAft>
                <a:spcPts val="800"/>
              </a:spcAft>
              <a:buFont typeface="Arial" panose="020B0604020202020204" pitchFamily="34" charset="0"/>
              <a:buChar char="•"/>
            </a:pPr>
            <a:endParaRPr lang="en-US" sz="180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
        <p:nvSpPr>
          <p:cNvPr id="41" name="Oval 40">
            <a:extLst>
              <a:ext uri="{FF2B5EF4-FFF2-40B4-BE49-F238E27FC236}">
                <a16:creationId xmlns:a16="http://schemas.microsoft.com/office/drawing/2014/main" id="{EF2633D8-AF89-4634-BAF9-DF4EC8AB1AF6}"/>
              </a:ext>
            </a:extLst>
          </p:cNvPr>
          <p:cNvSpPr/>
          <p:nvPr/>
        </p:nvSpPr>
        <p:spPr bwMode="auto">
          <a:xfrm>
            <a:off x="4294983" y="2421507"/>
            <a:ext cx="696648" cy="696648"/>
          </a:xfrm>
          <a:prstGeom prst="ellipse">
            <a:avLst/>
          </a:prstGeom>
          <a:solidFill>
            <a:srgbClr val="127010"/>
          </a:solidFill>
          <a:ln w="60325">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indent="-285750">
              <a:spcBef>
                <a:spcPts val="0"/>
              </a:spcBef>
              <a:spcAft>
                <a:spcPts val="800"/>
              </a:spcAft>
              <a:buFont typeface="Arial" panose="020B0604020202020204" pitchFamily="34" charset="0"/>
              <a:buChar char="•"/>
            </a:pPr>
            <a:endParaRPr lang="en-US" sz="180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
        <p:nvSpPr>
          <p:cNvPr id="42" name="Oval 41">
            <a:extLst>
              <a:ext uri="{FF2B5EF4-FFF2-40B4-BE49-F238E27FC236}">
                <a16:creationId xmlns:a16="http://schemas.microsoft.com/office/drawing/2014/main" id="{A116A2E7-6AE6-424B-AF0D-BA2FBD3F5D11}"/>
              </a:ext>
            </a:extLst>
          </p:cNvPr>
          <p:cNvSpPr/>
          <p:nvPr/>
        </p:nvSpPr>
        <p:spPr bwMode="auto">
          <a:xfrm>
            <a:off x="8170866" y="2421507"/>
            <a:ext cx="696648" cy="696648"/>
          </a:xfrm>
          <a:prstGeom prst="ellipse">
            <a:avLst/>
          </a:prstGeom>
          <a:solidFill>
            <a:srgbClr val="127010"/>
          </a:solidFill>
          <a:ln w="60325">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indent="-285750">
              <a:spcBef>
                <a:spcPts val="0"/>
              </a:spcBef>
              <a:spcAft>
                <a:spcPts val="800"/>
              </a:spcAft>
              <a:buFont typeface="Arial" panose="020B0604020202020204" pitchFamily="34" charset="0"/>
              <a:buChar char="•"/>
            </a:pPr>
            <a:endParaRPr lang="en-US" sz="180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
        <p:nvSpPr>
          <p:cNvPr id="43" name="Arc 42">
            <a:extLst>
              <a:ext uri="{FF2B5EF4-FFF2-40B4-BE49-F238E27FC236}">
                <a16:creationId xmlns:a16="http://schemas.microsoft.com/office/drawing/2014/main" id="{A3C137A0-88BB-476E-93B4-7AE2B5E6D8EB}"/>
              </a:ext>
            </a:extLst>
          </p:cNvPr>
          <p:cNvSpPr/>
          <p:nvPr/>
        </p:nvSpPr>
        <p:spPr bwMode="auto">
          <a:xfrm>
            <a:off x="377304" y="2367837"/>
            <a:ext cx="803988" cy="803988"/>
          </a:xfrm>
          <a:prstGeom prst="arc">
            <a:avLst>
              <a:gd name="adj1" fmla="val 2048035"/>
              <a:gd name="adj2" fmla="val 8787723"/>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indent="-285750">
              <a:spcBef>
                <a:spcPts val="0"/>
              </a:spcBef>
              <a:spcAft>
                <a:spcPts val="800"/>
              </a:spcAft>
              <a:buFont typeface="Arial" panose="020B0604020202020204" pitchFamily="34" charset="0"/>
              <a:buChar char="•"/>
            </a:pPr>
            <a:endParaRPr lang="en-US" sz="180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
        <p:nvSpPr>
          <p:cNvPr id="46" name="Arc 45">
            <a:extLst>
              <a:ext uri="{FF2B5EF4-FFF2-40B4-BE49-F238E27FC236}">
                <a16:creationId xmlns:a16="http://schemas.microsoft.com/office/drawing/2014/main" id="{7FD6FF50-3C84-4645-8F6B-7AE613542C62}"/>
              </a:ext>
            </a:extLst>
          </p:cNvPr>
          <p:cNvSpPr/>
          <p:nvPr/>
        </p:nvSpPr>
        <p:spPr bwMode="auto">
          <a:xfrm>
            <a:off x="4237599" y="2367837"/>
            <a:ext cx="803988" cy="803988"/>
          </a:xfrm>
          <a:prstGeom prst="arc">
            <a:avLst>
              <a:gd name="adj1" fmla="val 2048035"/>
              <a:gd name="adj2" fmla="val 8787723"/>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indent="-285750">
              <a:spcBef>
                <a:spcPts val="0"/>
              </a:spcBef>
              <a:spcAft>
                <a:spcPts val="800"/>
              </a:spcAft>
              <a:buFont typeface="Arial" panose="020B0604020202020204" pitchFamily="34" charset="0"/>
              <a:buChar char="•"/>
            </a:pPr>
            <a:endParaRPr lang="en-US" sz="180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
        <p:nvSpPr>
          <p:cNvPr id="48" name="Arc 47">
            <a:extLst>
              <a:ext uri="{FF2B5EF4-FFF2-40B4-BE49-F238E27FC236}">
                <a16:creationId xmlns:a16="http://schemas.microsoft.com/office/drawing/2014/main" id="{8A750F57-718C-434B-AF9F-8D437AEE4E4A}"/>
              </a:ext>
            </a:extLst>
          </p:cNvPr>
          <p:cNvSpPr/>
          <p:nvPr/>
        </p:nvSpPr>
        <p:spPr bwMode="auto">
          <a:xfrm>
            <a:off x="8116795" y="2367837"/>
            <a:ext cx="803988" cy="803988"/>
          </a:xfrm>
          <a:prstGeom prst="arc">
            <a:avLst>
              <a:gd name="adj1" fmla="val 1937637"/>
              <a:gd name="adj2" fmla="val 8787723"/>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indent="-285750">
              <a:spcBef>
                <a:spcPts val="0"/>
              </a:spcBef>
              <a:spcAft>
                <a:spcPts val="800"/>
              </a:spcAft>
              <a:buFont typeface="Arial" panose="020B0604020202020204" pitchFamily="34" charset="0"/>
              <a:buChar char="•"/>
            </a:pPr>
            <a:endParaRPr lang="en-US" sz="180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cxnSp>
        <p:nvCxnSpPr>
          <p:cNvPr id="44" name="Straight Connector 43">
            <a:extLst>
              <a:ext uri="{FF2B5EF4-FFF2-40B4-BE49-F238E27FC236}">
                <a16:creationId xmlns:a16="http://schemas.microsoft.com/office/drawing/2014/main" id="{88C3A763-EABD-420E-BE27-BAE61CBF71B2}"/>
              </a:ext>
            </a:extLst>
          </p:cNvPr>
          <p:cNvCxnSpPr>
            <a:cxnSpLocks/>
          </p:cNvCxnSpPr>
          <p:nvPr/>
        </p:nvCxnSpPr>
        <p:spPr>
          <a:xfrm>
            <a:off x="779298" y="3171825"/>
            <a:ext cx="0" cy="3379788"/>
          </a:xfrm>
          <a:prstGeom prst="line">
            <a:avLst/>
          </a:prstGeom>
          <a:noFill/>
          <a:ln w="6350">
            <a:solidFill>
              <a:schemeClr val="bg1">
                <a:lumMod val="75000"/>
              </a:schemeClr>
            </a:solidFill>
            <a:headEnd type="none" w="med" len="med"/>
            <a:tailEnd type="oval" w="med" len="med"/>
          </a:ln>
          <a:effectLst/>
        </p:spPr>
        <p:style>
          <a:lnRef idx="1">
            <a:schemeClr val="accent2"/>
          </a:lnRef>
          <a:fillRef idx="3">
            <a:schemeClr val="accent2"/>
          </a:fillRef>
          <a:effectRef idx="2">
            <a:schemeClr val="accent2"/>
          </a:effectRef>
          <a:fontRef idx="minor">
            <a:schemeClr val="lt1"/>
          </a:fontRef>
        </p:style>
      </p:cxnSp>
      <p:cxnSp>
        <p:nvCxnSpPr>
          <p:cNvPr id="47" name="Straight Connector 46">
            <a:extLst>
              <a:ext uri="{FF2B5EF4-FFF2-40B4-BE49-F238E27FC236}">
                <a16:creationId xmlns:a16="http://schemas.microsoft.com/office/drawing/2014/main" id="{B854DD33-883D-4FE2-A326-8B1B7FA3B946}"/>
              </a:ext>
            </a:extLst>
          </p:cNvPr>
          <p:cNvCxnSpPr>
            <a:cxnSpLocks/>
          </p:cNvCxnSpPr>
          <p:nvPr/>
        </p:nvCxnSpPr>
        <p:spPr>
          <a:xfrm>
            <a:off x="4639593" y="3171825"/>
            <a:ext cx="0" cy="3379788"/>
          </a:xfrm>
          <a:prstGeom prst="line">
            <a:avLst/>
          </a:prstGeom>
          <a:noFill/>
          <a:ln w="6350">
            <a:solidFill>
              <a:schemeClr val="bg1">
                <a:lumMod val="75000"/>
              </a:schemeClr>
            </a:solidFill>
            <a:headEnd type="none" w="med" len="med"/>
            <a:tailEnd type="oval" w="med" len="med"/>
          </a:ln>
          <a:effectLst/>
        </p:spPr>
        <p:style>
          <a:lnRef idx="1">
            <a:schemeClr val="accent2"/>
          </a:lnRef>
          <a:fillRef idx="3">
            <a:schemeClr val="accent2"/>
          </a:fillRef>
          <a:effectRef idx="2">
            <a:schemeClr val="accent2"/>
          </a:effectRef>
          <a:fontRef idx="minor">
            <a:schemeClr val="lt1"/>
          </a:fontRef>
        </p:style>
      </p:cxnSp>
      <p:cxnSp>
        <p:nvCxnSpPr>
          <p:cNvPr id="49" name="Straight Connector 48">
            <a:extLst>
              <a:ext uri="{FF2B5EF4-FFF2-40B4-BE49-F238E27FC236}">
                <a16:creationId xmlns:a16="http://schemas.microsoft.com/office/drawing/2014/main" id="{4FBA5912-A9B1-4959-B885-AE5CB060B074}"/>
              </a:ext>
            </a:extLst>
          </p:cNvPr>
          <p:cNvCxnSpPr>
            <a:cxnSpLocks/>
          </p:cNvCxnSpPr>
          <p:nvPr/>
        </p:nvCxnSpPr>
        <p:spPr>
          <a:xfrm>
            <a:off x="8518789" y="3171825"/>
            <a:ext cx="0" cy="3379788"/>
          </a:xfrm>
          <a:prstGeom prst="line">
            <a:avLst/>
          </a:prstGeom>
          <a:noFill/>
          <a:ln w="6350">
            <a:solidFill>
              <a:schemeClr val="bg1">
                <a:lumMod val="75000"/>
              </a:schemeClr>
            </a:solidFill>
            <a:headEnd type="none" w="med" len="med"/>
            <a:tailEnd type="oval" w="med" len="med"/>
          </a:ln>
          <a:effectLst/>
        </p:spPr>
        <p:style>
          <a:lnRef idx="1">
            <a:schemeClr val="accent2"/>
          </a:lnRef>
          <a:fillRef idx="3">
            <a:schemeClr val="accent2"/>
          </a:fillRef>
          <a:effectRef idx="2">
            <a:schemeClr val="accent2"/>
          </a:effectRef>
          <a:fontRef idx="minor">
            <a:schemeClr val="lt1"/>
          </a:fontRef>
        </p:style>
      </p:cxnSp>
      <p:sp>
        <p:nvSpPr>
          <p:cNvPr id="52" name="Text Placeholder 51">
            <a:extLst>
              <a:ext uri="{FF2B5EF4-FFF2-40B4-BE49-F238E27FC236}">
                <a16:creationId xmlns:a16="http://schemas.microsoft.com/office/drawing/2014/main" id="{0BFDC496-E1E2-4EC1-9CD9-120698F97F17}"/>
              </a:ext>
            </a:extLst>
          </p:cNvPr>
          <p:cNvSpPr>
            <a:spLocks noGrp="1"/>
          </p:cNvSpPr>
          <p:nvPr>
            <p:ph type="body" sz="quarter" idx="15" hasCustomPrompt="1"/>
          </p:nvPr>
        </p:nvSpPr>
        <p:spPr>
          <a:xfrm>
            <a:off x="754063" y="3240736"/>
            <a:ext cx="3277895" cy="3261663"/>
          </a:xfrm>
        </p:spPr>
        <p:txBody>
          <a:bodyPr/>
          <a:lstStyle>
            <a:lvl1pPr marL="171450" marR="0" indent="-171450" algn="l" defTabSz="914367" rtl="0" eaLnBrk="1" fontAlgn="auto" latinLnBrk="0" hangingPunct="1">
              <a:lnSpc>
                <a:spcPct val="100000"/>
              </a:lnSpc>
              <a:spcBef>
                <a:spcPts val="1000"/>
              </a:spcBef>
              <a:spcAft>
                <a:spcPts val="0"/>
              </a:spcAft>
              <a:buClrTx/>
              <a:buSzPct val="90000"/>
              <a:buFont typeface="Arial" panose="020B0604020202020204" pitchFamily="34" charset="0"/>
              <a:buChar char="•"/>
              <a:tabLst/>
              <a:defRPr lang="en-US" sz="1200" kern="1200" spc="0" baseline="0" dirty="0" smtClean="0">
                <a:solidFill>
                  <a:schemeClr val="tx1"/>
                </a:solidFill>
                <a:latin typeface="+mn-lt"/>
                <a:ea typeface="+mn-ea"/>
                <a:cs typeface="+mn-cs"/>
              </a:defRPr>
            </a:lvl1pPr>
            <a:lvl2pPr marL="509847" indent="-285750">
              <a:buFont typeface="Arial" panose="020B0604020202020204" pitchFamily="34" charset="0"/>
              <a:buChar char="•"/>
              <a:defRPr/>
            </a:lvl2pPr>
            <a:lvl3pPr marL="733943" indent="-285750">
              <a:buFont typeface="Arial" panose="020B0604020202020204" pitchFamily="34" charset="0"/>
              <a:buChar char="•"/>
              <a:defRPr/>
            </a:lvl3pPr>
            <a:lvl4pPr marL="958040" indent="-285750">
              <a:buFont typeface="Arial" panose="020B0604020202020204" pitchFamily="34" charset="0"/>
              <a:buChar char="•"/>
              <a:defRPr/>
            </a:lvl4pPr>
            <a:lvl5pPr marL="1182136" indent="-285750">
              <a:buFont typeface="Arial" panose="020B0604020202020204" pitchFamily="34" charset="0"/>
              <a:buChar char="•"/>
              <a:defRPr/>
            </a:lvl5pPr>
          </a:lstStyle>
          <a:p>
            <a:pPr marL="180975" marR="0" lvl="0" indent="-180975" algn="l" defTabSz="914367" rtl="0" eaLnBrk="1" fontAlgn="auto" latinLnBrk="0" hangingPunct="1">
              <a:lnSpc>
                <a:spcPct val="100000"/>
              </a:lnSpc>
              <a:spcBef>
                <a:spcPts val="1200"/>
              </a:spcBef>
              <a:spcAft>
                <a:spcPts val="0"/>
              </a:spcAft>
              <a:buClrTx/>
              <a:buSzPct val="90000"/>
              <a:buFont typeface="Arial" panose="020B0604020202020204" pitchFamily="34" charset="0"/>
              <a:buChar char="•"/>
              <a:tabLst/>
            </a:pPr>
            <a:r>
              <a:rPr lang="en-US"/>
              <a:t>Bulleted text</a:t>
            </a:r>
          </a:p>
          <a:p>
            <a:pPr marL="180975" marR="0" lvl="0" indent="-180975" algn="l" defTabSz="914367" rtl="0" eaLnBrk="1" fontAlgn="auto" latinLnBrk="0" hangingPunct="1">
              <a:lnSpc>
                <a:spcPct val="100000"/>
              </a:lnSpc>
              <a:spcBef>
                <a:spcPts val="1200"/>
              </a:spcBef>
              <a:spcAft>
                <a:spcPts val="0"/>
              </a:spcAft>
              <a:buClrTx/>
              <a:buSzPct val="90000"/>
              <a:buFont typeface="Arial" panose="020B0604020202020204" pitchFamily="34" charset="0"/>
              <a:buChar char="•"/>
              <a:tabLst/>
              <a:defRPr/>
            </a:pPr>
            <a:r>
              <a:rPr lang="en-US"/>
              <a:t>Bulleted text</a:t>
            </a:r>
          </a:p>
          <a:p>
            <a:pPr marL="180975" marR="0" lvl="0" indent="-180975" algn="l" defTabSz="914367" rtl="0" eaLnBrk="1" fontAlgn="auto" latinLnBrk="0" hangingPunct="1">
              <a:lnSpc>
                <a:spcPct val="100000"/>
              </a:lnSpc>
              <a:spcBef>
                <a:spcPts val="1200"/>
              </a:spcBef>
              <a:spcAft>
                <a:spcPts val="0"/>
              </a:spcAft>
              <a:buClrTx/>
              <a:buSzPct val="90000"/>
              <a:buFont typeface="Arial" panose="020B0604020202020204" pitchFamily="34" charset="0"/>
              <a:buChar char="•"/>
              <a:tabLst/>
              <a:defRPr/>
            </a:pPr>
            <a:r>
              <a:rPr lang="en-US"/>
              <a:t>Bulleted text</a:t>
            </a:r>
          </a:p>
          <a:p>
            <a:pPr marL="180975" marR="0" lvl="0" indent="-180975" algn="l" defTabSz="914367" rtl="0" eaLnBrk="1" fontAlgn="auto" latinLnBrk="0" hangingPunct="1">
              <a:lnSpc>
                <a:spcPct val="100000"/>
              </a:lnSpc>
              <a:spcBef>
                <a:spcPts val="1200"/>
              </a:spcBef>
              <a:spcAft>
                <a:spcPts val="0"/>
              </a:spcAft>
              <a:buClrTx/>
              <a:buSzPct val="90000"/>
              <a:buFont typeface="Arial" panose="020B0604020202020204" pitchFamily="34" charset="0"/>
              <a:buChar char="•"/>
              <a:tabLst/>
              <a:defRPr/>
            </a:pPr>
            <a:r>
              <a:rPr lang="en-US"/>
              <a:t>Bulleted text</a:t>
            </a:r>
          </a:p>
          <a:p>
            <a:pPr marL="180975" marR="0" lvl="0" indent="-180975" algn="l" defTabSz="914367" rtl="0" eaLnBrk="1" fontAlgn="auto" latinLnBrk="0" hangingPunct="1">
              <a:lnSpc>
                <a:spcPct val="100000"/>
              </a:lnSpc>
              <a:spcBef>
                <a:spcPts val="1200"/>
              </a:spcBef>
              <a:spcAft>
                <a:spcPts val="0"/>
              </a:spcAft>
              <a:buClrTx/>
              <a:buSzPct val="90000"/>
              <a:buFont typeface="Arial" panose="020B0604020202020204" pitchFamily="34" charset="0"/>
              <a:buChar char="•"/>
              <a:tabLst/>
              <a:defRPr/>
            </a:pPr>
            <a:r>
              <a:rPr lang="en-US"/>
              <a:t>Bulleted text</a:t>
            </a:r>
          </a:p>
          <a:p>
            <a:pPr marL="180975" marR="0" lvl="0" indent="-180975" algn="l" defTabSz="914367" rtl="0" eaLnBrk="1" fontAlgn="auto" latinLnBrk="0" hangingPunct="1">
              <a:lnSpc>
                <a:spcPct val="100000"/>
              </a:lnSpc>
              <a:spcBef>
                <a:spcPts val="1200"/>
              </a:spcBef>
              <a:spcAft>
                <a:spcPts val="0"/>
              </a:spcAft>
              <a:buClrTx/>
              <a:buSzPct val="90000"/>
              <a:buFont typeface="Arial" panose="020B0604020202020204" pitchFamily="34" charset="0"/>
              <a:buChar char="•"/>
              <a:tabLst/>
              <a:defRPr/>
            </a:pPr>
            <a:r>
              <a:rPr lang="en-US"/>
              <a:t>Bulleted text</a:t>
            </a:r>
          </a:p>
          <a:p>
            <a:pPr marL="180975" marR="0" lvl="0" indent="-180975" algn="l" defTabSz="914367" rtl="0" eaLnBrk="1" fontAlgn="auto" latinLnBrk="0" hangingPunct="1">
              <a:lnSpc>
                <a:spcPct val="100000"/>
              </a:lnSpc>
              <a:spcBef>
                <a:spcPts val="1200"/>
              </a:spcBef>
              <a:spcAft>
                <a:spcPts val="0"/>
              </a:spcAft>
              <a:buClrTx/>
              <a:buSzPct val="90000"/>
              <a:buFont typeface="Arial" panose="020B0604020202020204" pitchFamily="34" charset="0"/>
              <a:buChar char="•"/>
              <a:tabLst/>
              <a:defRPr/>
            </a:pPr>
            <a:r>
              <a:rPr lang="en-US"/>
              <a:t>Bulleted text</a:t>
            </a:r>
          </a:p>
        </p:txBody>
      </p:sp>
      <p:sp>
        <p:nvSpPr>
          <p:cNvPr id="53" name="Text Placeholder 51">
            <a:extLst>
              <a:ext uri="{FF2B5EF4-FFF2-40B4-BE49-F238E27FC236}">
                <a16:creationId xmlns:a16="http://schemas.microsoft.com/office/drawing/2014/main" id="{CDE55F60-95DA-46FA-B39F-0AEE4B833172}"/>
              </a:ext>
            </a:extLst>
          </p:cNvPr>
          <p:cNvSpPr>
            <a:spLocks noGrp="1"/>
          </p:cNvSpPr>
          <p:nvPr>
            <p:ph type="body" sz="quarter" idx="16" hasCustomPrompt="1"/>
          </p:nvPr>
        </p:nvSpPr>
        <p:spPr>
          <a:xfrm>
            <a:off x="4618038" y="3240736"/>
            <a:ext cx="3277895" cy="3261663"/>
          </a:xfrm>
        </p:spPr>
        <p:txBody>
          <a:bodyPr/>
          <a:lstStyle>
            <a:lvl1pPr marL="171450" marR="0" indent="-171450" algn="l" defTabSz="914367" rtl="0" eaLnBrk="1" fontAlgn="auto" latinLnBrk="0" hangingPunct="1">
              <a:lnSpc>
                <a:spcPct val="100000"/>
              </a:lnSpc>
              <a:spcBef>
                <a:spcPts val="1000"/>
              </a:spcBef>
              <a:spcAft>
                <a:spcPts val="0"/>
              </a:spcAft>
              <a:buClrTx/>
              <a:buSzPct val="90000"/>
              <a:buFont typeface="Arial" panose="020B0604020202020204" pitchFamily="34" charset="0"/>
              <a:buChar char="•"/>
              <a:tabLst/>
              <a:defRPr lang="en-US" sz="1200" kern="1200" spc="0" baseline="0" dirty="0" smtClean="0">
                <a:solidFill>
                  <a:schemeClr val="tx1"/>
                </a:solidFill>
                <a:latin typeface="+mn-lt"/>
                <a:ea typeface="+mn-ea"/>
                <a:cs typeface="+mn-cs"/>
              </a:defRPr>
            </a:lvl1pPr>
            <a:lvl2pPr marL="509847" indent="-285750">
              <a:buFont typeface="Arial" panose="020B0604020202020204" pitchFamily="34" charset="0"/>
              <a:buChar char="•"/>
              <a:defRPr/>
            </a:lvl2pPr>
            <a:lvl3pPr marL="733943" indent="-285750">
              <a:buFont typeface="Arial" panose="020B0604020202020204" pitchFamily="34" charset="0"/>
              <a:buChar char="•"/>
              <a:defRPr/>
            </a:lvl3pPr>
            <a:lvl4pPr marL="958040" indent="-285750">
              <a:buFont typeface="Arial" panose="020B0604020202020204" pitchFamily="34" charset="0"/>
              <a:buChar char="•"/>
              <a:defRPr/>
            </a:lvl4pPr>
            <a:lvl5pPr marL="1182136" indent="-285750">
              <a:buFont typeface="Arial" panose="020B0604020202020204" pitchFamily="34" charset="0"/>
              <a:buChar char="•"/>
              <a:defRPr/>
            </a:lvl5pPr>
          </a:lstStyle>
          <a:p>
            <a:pPr marL="180975" marR="0" lvl="0" indent="-180975" algn="l" defTabSz="914367" rtl="0" eaLnBrk="1" fontAlgn="auto" latinLnBrk="0" hangingPunct="1">
              <a:lnSpc>
                <a:spcPct val="100000"/>
              </a:lnSpc>
              <a:spcBef>
                <a:spcPts val="1200"/>
              </a:spcBef>
              <a:spcAft>
                <a:spcPts val="0"/>
              </a:spcAft>
              <a:buClrTx/>
              <a:buSzPct val="90000"/>
              <a:buFont typeface="Arial" panose="020B0604020202020204" pitchFamily="34" charset="0"/>
              <a:buChar char="•"/>
              <a:tabLst/>
            </a:pPr>
            <a:r>
              <a:rPr lang="en-US"/>
              <a:t>Bulleted text</a:t>
            </a:r>
          </a:p>
          <a:p>
            <a:pPr marL="180975" marR="0" lvl="0" indent="-180975" algn="l" defTabSz="914367" rtl="0" eaLnBrk="1" fontAlgn="auto" latinLnBrk="0" hangingPunct="1">
              <a:lnSpc>
                <a:spcPct val="100000"/>
              </a:lnSpc>
              <a:spcBef>
                <a:spcPts val="1200"/>
              </a:spcBef>
              <a:spcAft>
                <a:spcPts val="0"/>
              </a:spcAft>
              <a:buClrTx/>
              <a:buSzPct val="90000"/>
              <a:buFont typeface="Arial" panose="020B0604020202020204" pitchFamily="34" charset="0"/>
              <a:buChar char="•"/>
              <a:tabLst/>
              <a:defRPr/>
            </a:pPr>
            <a:r>
              <a:rPr lang="en-US"/>
              <a:t>Bulleted text</a:t>
            </a:r>
          </a:p>
          <a:p>
            <a:pPr marL="180975" marR="0" lvl="0" indent="-180975" algn="l" defTabSz="914367" rtl="0" eaLnBrk="1" fontAlgn="auto" latinLnBrk="0" hangingPunct="1">
              <a:lnSpc>
                <a:spcPct val="100000"/>
              </a:lnSpc>
              <a:spcBef>
                <a:spcPts val="1200"/>
              </a:spcBef>
              <a:spcAft>
                <a:spcPts val="0"/>
              </a:spcAft>
              <a:buClrTx/>
              <a:buSzPct val="90000"/>
              <a:buFont typeface="Arial" panose="020B0604020202020204" pitchFamily="34" charset="0"/>
              <a:buChar char="•"/>
              <a:tabLst/>
              <a:defRPr/>
            </a:pPr>
            <a:r>
              <a:rPr lang="en-US"/>
              <a:t>Bulleted text</a:t>
            </a:r>
          </a:p>
          <a:p>
            <a:pPr marL="180975" marR="0" lvl="0" indent="-180975" algn="l" defTabSz="914367" rtl="0" eaLnBrk="1" fontAlgn="auto" latinLnBrk="0" hangingPunct="1">
              <a:lnSpc>
                <a:spcPct val="100000"/>
              </a:lnSpc>
              <a:spcBef>
                <a:spcPts val="1200"/>
              </a:spcBef>
              <a:spcAft>
                <a:spcPts val="0"/>
              </a:spcAft>
              <a:buClrTx/>
              <a:buSzPct val="90000"/>
              <a:buFont typeface="Arial" panose="020B0604020202020204" pitchFamily="34" charset="0"/>
              <a:buChar char="•"/>
              <a:tabLst/>
              <a:defRPr/>
            </a:pPr>
            <a:r>
              <a:rPr lang="en-US"/>
              <a:t>Bulleted text</a:t>
            </a:r>
          </a:p>
          <a:p>
            <a:pPr marL="180975" marR="0" lvl="0" indent="-180975" algn="l" defTabSz="914367" rtl="0" eaLnBrk="1" fontAlgn="auto" latinLnBrk="0" hangingPunct="1">
              <a:lnSpc>
                <a:spcPct val="100000"/>
              </a:lnSpc>
              <a:spcBef>
                <a:spcPts val="1200"/>
              </a:spcBef>
              <a:spcAft>
                <a:spcPts val="0"/>
              </a:spcAft>
              <a:buClrTx/>
              <a:buSzPct val="90000"/>
              <a:buFont typeface="Arial" panose="020B0604020202020204" pitchFamily="34" charset="0"/>
              <a:buChar char="•"/>
              <a:tabLst/>
              <a:defRPr/>
            </a:pPr>
            <a:r>
              <a:rPr lang="en-US"/>
              <a:t>Bulleted text</a:t>
            </a:r>
          </a:p>
          <a:p>
            <a:pPr marL="180975" marR="0" lvl="0" indent="-180975" algn="l" defTabSz="914367" rtl="0" eaLnBrk="1" fontAlgn="auto" latinLnBrk="0" hangingPunct="1">
              <a:lnSpc>
                <a:spcPct val="100000"/>
              </a:lnSpc>
              <a:spcBef>
                <a:spcPts val="1200"/>
              </a:spcBef>
              <a:spcAft>
                <a:spcPts val="0"/>
              </a:spcAft>
              <a:buClrTx/>
              <a:buSzPct val="90000"/>
              <a:buFont typeface="Arial" panose="020B0604020202020204" pitchFamily="34" charset="0"/>
              <a:buChar char="•"/>
              <a:tabLst/>
              <a:defRPr/>
            </a:pPr>
            <a:r>
              <a:rPr lang="en-US"/>
              <a:t>Bulleted text</a:t>
            </a:r>
          </a:p>
          <a:p>
            <a:pPr marL="180975" marR="0" lvl="0" indent="-180975" algn="l" defTabSz="914367" rtl="0" eaLnBrk="1" fontAlgn="auto" latinLnBrk="0" hangingPunct="1">
              <a:lnSpc>
                <a:spcPct val="100000"/>
              </a:lnSpc>
              <a:spcBef>
                <a:spcPts val="1200"/>
              </a:spcBef>
              <a:spcAft>
                <a:spcPts val="0"/>
              </a:spcAft>
              <a:buClrTx/>
              <a:buSzPct val="90000"/>
              <a:buFont typeface="Arial" panose="020B0604020202020204" pitchFamily="34" charset="0"/>
              <a:buChar char="•"/>
              <a:tabLst/>
              <a:defRPr/>
            </a:pPr>
            <a:r>
              <a:rPr lang="en-US"/>
              <a:t>Bulleted text</a:t>
            </a:r>
          </a:p>
        </p:txBody>
      </p:sp>
      <p:sp>
        <p:nvSpPr>
          <p:cNvPr id="54" name="Text Placeholder 51">
            <a:extLst>
              <a:ext uri="{FF2B5EF4-FFF2-40B4-BE49-F238E27FC236}">
                <a16:creationId xmlns:a16="http://schemas.microsoft.com/office/drawing/2014/main" id="{881B30AF-DFE6-433B-8D35-63BCA814A33E}"/>
              </a:ext>
            </a:extLst>
          </p:cNvPr>
          <p:cNvSpPr>
            <a:spLocks noGrp="1"/>
          </p:cNvSpPr>
          <p:nvPr>
            <p:ph type="body" sz="quarter" idx="17" hasCustomPrompt="1"/>
          </p:nvPr>
        </p:nvSpPr>
        <p:spPr>
          <a:xfrm>
            <a:off x="8495005" y="3240736"/>
            <a:ext cx="3277895" cy="3261663"/>
          </a:xfrm>
        </p:spPr>
        <p:txBody>
          <a:bodyPr/>
          <a:lstStyle>
            <a:lvl1pPr marL="171450" marR="0" indent="-171450" algn="l" defTabSz="914367" rtl="0" eaLnBrk="1" fontAlgn="auto" latinLnBrk="0" hangingPunct="1">
              <a:lnSpc>
                <a:spcPct val="100000"/>
              </a:lnSpc>
              <a:spcBef>
                <a:spcPts val="1000"/>
              </a:spcBef>
              <a:spcAft>
                <a:spcPts val="0"/>
              </a:spcAft>
              <a:buClrTx/>
              <a:buSzPct val="90000"/>
              <a:buFont typeface="Arial" panose="020B0604020202020204" pitchFamily="34" charset="0"/>
              <a:buChar char="•"/>
              <a:tabLst/>
              <a:defRPr lang="en-US" sz="1200" kern="1200" spc="0" baseline="0" dirty="0" smtClean="0">
                <a:solidFill>
                  <a:schemeClr val="tx1"/>
                </a:solidFill>
                <a:latin typeface="+mn-lt"/>
                <a:ea typeface="+mn-ea"/>
                <a:cs typeface="+mn-cs"/>
              </a:defRPr>
            </a:lvl1pPr>
            <a:lvl2pPr marL="509847" indent="-285750">
              <a:buFont typeface="Arial" panose="020B0604020202020204" pitchFamily="34" charset="0"/>
              <a:buChar char="•"/>
              <a:defRPr/>
            </a:lvl2pPr>
            <a:lvl3pPr marL="733943" indent="-285750">
              <a:buFont typeface="Arial" panose="020B0604020202020204" pitchFamily="34" charset="0"/>
              <a:buChar char="•"/>
              <a:defRPr/>
            </a:lvl3pPr>
            <a:lvl4pPr marL="958040" indent="-285750">
              <a:buFont typeface="Arial" panose="020B0604020202020204" pitchFamily="34" charset="0"/>
              <a:buChar char="•"/>
              <a:defRPr/>
            </a:lvl4pPr>
            <a:lvl5pPr marL="1182136" indent="-285750">
              <a:buFont typeface="Arial" panose="020B0604020202020204" pitchFamily="34" charset="0"/>
              <a:buChar char="•"/>
              <a:defRPr/>
            </a:lvl5pPr>
          </a:lstStyle>
          <a:p>
            <a:pPr marL="180975" marR="0" lvl="0" indent="-180975" algn="l" defTabSz="914367" rtl="0" eaLnBrk="1" fontAlgn="auto" latinLnBrk="0" hangingPunct="1">
              <a:lnSpc>
                <a:spcPct val="100000"/>
              </a:lnSpc>
              <a:spcBef>
                <a:spcPts val="1200"/>
              </a:spcBef>
              <a:spcAft>
                <a:spcPts val="0"/>
              </a:spcAft>
              <a:buClrTx/>
              <a:buSzPct val="90000"/>
              <a:buFont typeface="Arial" panose="020B0604020202020204" pitchFamily="34" charset="0"/>
              <a:buChar char="•"/>
              <a:tabLst/>
            </a:pPr>
            <a:r>
              <a:rPr lang="en-US"/>
              <a:t>Bulleted text</a:t>
            </a:r>
          </a:p>
          <a:p>
            <a:pPr marL="180975" marR="0" lvl="0" indent="-180975" algn="l" defTabSz="914367" rtl="0" eaLnBrk="1" fontAlgn="auto" latinLnBrk="0" hangingPunct="1">
              <a:lnSpc>
                <a:spcPct val="100000"/>
              </a:lnSpc>
              <a:spcBef>
                <a:spcPts val="1200"/>
              </a:spcBef>
              <a:spcAft>
                <a:spcPts val="0"/>
              </a:spcAft>
              <a:buClrTx/>
              <a:buSzPct val="90000"/>
              <a:buFont typeface="Arial" panose="020B0604020202020204" pitchFamily="34" charset="0"/>
              <a:buChar char="•"/>
              <a:tabLst/>
              <a:defRPr/>
            </a:pPr>
            <a:r>
              <a:rPr lang="en-US"/>
              <a:t>Bulleted text</a:t>
            </a:r>
          </a:p>
          <a:p>
            <a:pPr marL="180975" marR="0" lvl="0" indent="-180975" algn="l" defTabSz="914367" rtl="0" eaLnBrk="1" fontAlgn="auto" latinLnBrk="0" hangingPunct="1">
              <a:lnSpc>
                <a:spcPct val="100000"/>
              </a:lnSpc>
              <a:spcBef>
                <a:spcPts val="1200"/>
              </a:spcBef>
              <a:spcAft>
                <a:spcPts val="0"/>
              </a:spcAft>
              <a:buClrTx/>
              <a:buSzPct val="90000"/>
              <a:buFont typeface="Arial" panose="020B0604020202020204" pitchFamily="34" charset="0"/>
              <a:buChar char="•"/>
              <a:tabLst/>
              <a:defRPr/>
            </a:pPr>
            <a:r>
              <a:rPr lang="en-US"/>
              <a:t>Bulleted text</a:t>
            </a:r>
          </a:p>
          <a:p>
            <a:pPr marL="180975" marR="0" lvl="0" indent="-180975" algn="l" defTabSz="914367" rtl="0" eaLnBrk="1" fontAlgn="auto" latinLnBrk="0" hangingPunct="1">
              <a:lnSpc>
                <a:spcPct val="100000"/>
              </a:lnSpc>
              <a:spcBef>
                <a:spcPts val="1200"/>
              </a:spcBef>
              <a:spcAft>
                <a:spcPts val="0"/>
              </a:spcAft>
              <a:buClrTx/>
              <a:buSzPct val="90000"/>
              <a:buFont typeface="Arial" panose="020B0604020202020204" pitchFamily="34" charset="0"/>
              <a:buChar char="•"/>
              <a:tabLst/>
              <a:defRPr/>
            </a:pPr>
            <a:r>
              <a:rPr lang="en-US"/>
              <a:t>Bulleted text</a:t>
            </a:r>
          </a:p>
          <a:p>
            <a:pPr marL="180975" marR="0" lvl="0" indent="-180975" algn="l" defTabSz="914367" rtl="0" eaLnBrk="1" fontAlgn="auto" latinLnBrk="0" hangingPunct="1">
              <a:lnSpc>
                <a:spcPct val="100000"/>
              </a:lnSpc>
              <a:spcBef>
                <a:spcPts val="1200"/>
              </a:spcBef>
              <a:spcAft>
                <a:spcPts val="0"/>
              </a:spcAft>
              <a:buClrTx/>
              <a:buSzPct val="90000"/>
              <a:buFont typeface="Arial" panose="020B0604020202020204" pitchFamily="34" charset="0"/>
              <a:buChar char="•"/>
              <a:tabLst/>
              <a:defRPr/>
            </a:pPr>
            <a:r>
              <a:rPr lang="en-US"/>
              <a:t>Bulleted text</a:t>
            </a:r>
          </a:p>
          <a:p>
            <a:pPr marL="180975" marR="0" lvl="0" indent="-180975" algn="l" defTabSz="914367" rtl="0" eaLnBrk="1" fontAlgn="auto" latinLnBrk="0" hangingPunct="1">
              <a:lnSpc>
                <a:spcPct val="100000"/>
              </a:lnSpc>
              <a:spcBef>
                <a:spcPts val="1200"/>
              </a:spcBef>
              <a:spcAft>
                <a:spcPts val="0"/>
              </a:spcAft>
              <a:buClrTx/>
              <a:buSzPct val="90000"/>
              <a:buFont typeface="Arial" panose="020B0604020202020204" pitchFamily="34" charset="0"/>
              <a:buChar char="•"/>
              <a:tabLst/>
              <a:defRPr/>
            </a:pPr>
            <a:r>
              <a:rPr lang="en-US"/>
              <a:t>Bulleted text</a:t>
            </a:r>
          </a:p>
          <a:p>
            <a:pPr marL="180975" marR="0" lvl="0" indent="-180975" algn="l" defTabSz="914367" rtl="0" eaLnBrk="1" fontAlgn="auto" latinLnBrk="0" hangingPunct="1">
              <a:lnSpc>
                <a:spcPct val="100000"/>
              </a:lnSpc>
              <a:spcBef>
                <a:spcPts val="1200"/>
              </a:spcBef>
              <a:spcAft>
                <a:spcPts val="0"/>
              </a:spcAft>
              <a:buClrTx/>
              <a:buSzPct val="90000"/>
              <a:buFont typeface="Arial" panose="020B0604020202020204" pitchFamily="34" charset="0"/>
              <a:buChar char="•"/>
              <a:tabLst/>
              <a:defRPr/>
            </a:pPr>
            <a:r>
              <a:rPr lang="en-US"/>
              <a:t>Bulleted text</a:t>
            </a:r>
          </a:p>
        </p:txBody>
      </p:sp>
      <p:sp>
        <p:nvSpPr>
          <p:cNvPr id="58" name="Picture Placeholder 57">
            <a:extLst>
              <a:ext uri="{FF2B5EF4-FFF2-40B4-BE49-F238E27FC236}">
                <a16:creationId xmlns:a16="http://schemas.microsoft.com/office/drawing/2014/main" id="{F2A6D852-9482-4663-90C1-94569CC86F70}"/>
              </a:ext>
            </a:extLst>
          </p:cNvPr>
          <p:cNvSpPr>
            <a:spLocks noGrp="1"/>
          </p:cNvSpPr>
          <p:nvPr>
            <p:ph type="pic" sz="quarter" idx="18" hasCustomPrompt="1"/>
          </p:nvPr>
        </p:nvSpPr>
        <p:spPr>
          <a:xfrm>
            <a:off x="532383" y="2523891"/>
            <a:ext cx="495534" cy="495534"/>
          </a:xfrm>
          <a:prstGeom prst="ellipse">
            <a:avLst/>
          </a:prstGeom>
        </p:spPr>
        <p:txBody>
          <a:bodyPr anchor="ctr">
            <a:normAutofit/>
          </a:bodyPr>
          <a:lstStyle>
            <a:lvl1pPr algn="ctr">
              <a:defRPr sz="1100">
                <a:solidFill>
                  <a:schemeClr val="bg1"/>
                </a:solidFill>
              </a:defRPr>
            </a:lvl1pPr>
          </a:lstStyle>
          <a:p>
            <a:r>
              <a:rPr lang="en-US"/>
              <a:t>Icon</a:t>
            </a:r>
          </a:p>
        </p:txBody>
      </p:sp>
      <p:sp>
        <p:nvSpPr>
          <p:cNvPr id="59" name="Picture Placeholder 57">
            <a:extLst>
              <a:ext uri="{FF2B5EF4-FFF2-40B4-BE49-F238E27FC236}">
                <a16:creationId xmlns:a16="http://schemas.microsoft.com/office/drawing/2014/main" id="{DA670B3E-761D-4682-A01E-198DE9275116}"/>
              </a:ext>
            </a:extLst>
          </p:cNvPr>
          <p:cNvSpPr>
            <a:spLocks noGrp="1"/>
          </p:cNvSpPr>
          <p:nvPr>
            <p:ph type="pic" sz="quarter" idx="19" hasCustomPrompt="1"/>
          </p:nvPr>
        </p:nvSpPr>
        <p:spPr>
          <a:xfrm>
            <a:off x="4391826" y="2523891"/>
            <a:ext cx="495534" cy="495534"/>
          </a:xfrm>
          <a:prstGeom prst="ellipse">
            <a:avLst/>
          </a:prstGeom>
        </p:spPr>
        <p:txBody>
          <a:bodyPr anchor="ctr">
            <a:normAutofit/>
          </a:bodyPr>
          <a:lstStyle>
            <a:lvl1pPr algn="ctr">
              <a:defRPr sz="1100">
                <a:solidFill>
                  <a:schemeClr val="bg1"/>
                </a:solidFill>
              </a:defRPr>
            </a:lvl1pPr>
          </a:lstStyle>
          <a:p>
            <a:r>
              <a:rPr lang="en-US"/>
              <a:t>Icon</a:t>
            </a:r>
          </a:p>
        </p:txBody>
      </p:sp>
      <p:sp>
        <p:nvSpPr>
          <p:cNvPr id="60" name="Picture Placeholder 57">
            <a:extLst>
              <a:ext uri="{FF2B5EF4-FFF2-40B4-BE49-F238E27FC236}">
                <a16:creationId xmlns:a16="http://schemas.microsoft.com/office/drawing/2014/main" id="{FCC7D700-CC36-4D6D-A46C-6CD489D85832}"/>
              </a:ext>
            </a:extLst>
          </p:cNvPr>
          <p:cNvSpPr>
            <a:spLocks noGrp="1"/>
          </p:cNvSpPr>
          <p:nvPr>
            <p:ph type="pic" sz="quarter" idx="20" hasCustomPrompt="1"/>
          </p:nvPr>
        </p:nvSpPr>
        <p:spPr>
          <a:xfrm>
            <a:off x="8272275" y="2523891"/>
            <a:ext cx="495534" cy="495534"/>
          </a:xfrm>
          <a:prstGeom prst="ellipse">
            <a:avLst/>
          </a:prstGeom>
        </p:spPr>
        <p:txBody>
          <a:bodyPr anchor="ctr">
            <a:normAutofit/>
          </a:bodyPr>
          <a:lstStyle>
            <a:lvl1pPr algn="ctr">
              <a:defRPr sz="1100">
                <a:solidFill>
                  <a:schemeClr val="bg1"/>
                </a:solidFill>
              </a:defRPr>
            </a:lvl1pPr>
          </a:lstStyle>
          <a:p>
            <a:r>
              <a:rPr lang="en-US"/>
              <a:t>Icon</a:t>
            </a:r>
          </a:p>
        </p:txBody>
      </p:sp>
    </p:spTree>
    <p:extLst>
      <p:ext uri="{BB962C8B-B14F-4D97-AF65-F5344CB8AC3E}">
        <p14:creationId xmlns:p14="http://schemas.microsoft.com/office/powerpoint/2010/main" val="2600888818"/>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3 rows content w/ image">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0F7508-C740-42AB-B200-EB54F3078A5F}"/>
              </a:ext>
            </a:extLst>
          </p:cNvPr>
          <p:cNvSpPr>
            <a:spLocks noGrp="1"/>
          </p:cNvSpPr>
          <p:nvPr>
            <p:ph type="title"/>
          </p:nvPr>
        </p:nvSpPr>
        <p:spPr>
          <a:xfrm>
            <a:off x="426424" y="435824"/>
            <a:ext cx="11346476" cy="744014"/>
          </a:xfrm>
        </p:spPr>
        <p:txBody>
          <a:bodyPr/>
          <a:lstStyle>
            <a:lvl1pPr>
              <a:defRPr/>
            </a:lvl1pPr>
          </a:lstStyle>
          <a:p>
            <a:r>
              <a:rPr lang="en-US"/>
              <a:t>Click to edit Master title style</a:t>
            </a:r>
          </a:p>
        </p:txBody>
      </p:sp>
      <p:sp>
        <p:nvSpPr>
          <p:cNvPr id="8" name="Rectangle 7">
            <a:extLst>
              <a:ext uri="{FF2B5EF4-FFF2-40B4-BE49-F238E27FC236}">
                <a16:creationId xmlns:a16="http://schemas.microsoft.com/office/drawing/2014/main" id="{297C7971-09FC-4A7C-9657-21D91173B55B}"/>
              </a:ext>
            </a:extLst>
          </p:cNvPr>
          <p:cNvSpPr/>
          <p:nvPr/>
        </p:nvSpPr>
        <p:spPr bwMode="auto">
          <a:xfrm>
            <a:off x="0" y="0"/>
            <a:ext cx="12192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indent="-285750" algn="l">
              <a:lnSpc>
                <a:spcPct val="107000"/>
              </a:lnSpc>
              <a:spcBef>
                <a:spcPts val="0"/>
              </a:spcBef>
              <a:spcAft>
                <a:spcPts val="800"/>
              </a:spcAft>
              <a:buFont typeface="Arial" panose="020B0604020202020204" pitchFamily="34" charset="0"/>
              <a:buChar char="•"/>
            </a:pPr>
            <a:endParaRPr lang="en-US" sz="180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cxnSp>
        <p:nvCxnSpPr>
          <p:cNvPr id="19" name="Straight Connector 18">
            <a:extLst>
              <a:ext uri="{FF2B5EF4-FFF2-40B4-BE49-F238E27FC236}">
                <a16:creationId xmlns:a16="http://schemas.microsoft.com/office/drawing/2014/main" id="{D885B683-3851-4EA2-A530-F272571CF143}"/>
              </a:ext>
              <a:ext uri="{C183D7F6-B498-43B3-948B-1728B52AA6E4}">
                <adec:decorative xmlns:adec="http://schemas.microsoft.com/office/drawing/2017/decorative" val="1"/>
              </a:ext>
            </a:extLst>
          </p:cNvPr>
          <p:cNvCxnSpPr>
            <a:cxnSpLocks/>
          </p:cNvCxnSpPr>
          <p:nvPr/>
        </p:nvCxnSpPr>
        <p:spPr>
          <a:xfrm>
            <a:off x="426542" y="3138479"/>
            <a:ext cx="7382190" cy="0"/>
          </a:xfrm>
          <a:prstGeom prst="line">
            <a:avLst/>
          </a:prstGeom>
          <a:ln w="19050">
            <a:solidFill>
              <a:srgbClr val="127010"/>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743EBC1A-32F7-42DB-9394-DF8096977275}"/>
              </a:ext>
              <a:ext uri="{C183D7F6-B498-43B3-948B-1728B52AA6E4}">
                <adec:decorative xmlns:adec="http://schemas.microsoft.com/office/drawing/2017/decorative" val="1"/>
              </a:ext>
            </a:extLst>
          </p:cNvPr>
          <p:cNvCxnSpPr>
            <a:cxnSpLocks/>
          </p:cNvCxnSpPr>
          <p:nvPr/>
        </p:nvCxnSpPr>
        <p:spPr>
          <a:xfrm>
            <a:off x="426542" y="4819578"/>
            <a:ext cx="7382190" cy="0"/>
          </a:xfrm>
          <a:prstGeom prst="line">
            <a:avLst/>
          </a:prstGeom>
          <a:ln w="19050">
            <a:solidFill>
              <a:srgbClr val="127010"/>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ACE7F5B-8DE5-4223-9766-857A6A5E9C2B}"/>
              </a:ext>
              <a:ext uri="{C183D7F6-B498-43B3-948B-1728B52AA6E4}">
                <adec:decorative xmlns:adec="http://schemas.microsoft.com/office/drawing/2017/decorative" val="1"/>
              </a:ext>
            </a:extLst>
          </p:cNvPr>
          <p:cNvCxnSpPr>
            <a:cxnSpLocks/>
          </p:cNvCxnSpPr>
          <p:nvPr/>
        </p:nvCxnSpPr>
        <p:spPr>
          <a:xfrm>
            <a:off x="426542" y="1457380"/>
            <a:ext cx="7382190" cy="0"/>
          </a:xfrm>
          <a:prstGeom prst="line">
            <a:avLst/>
          </a:prstGeom>
          <a:ln w="19050">
            <a:solidFill>
              <a:srgbClr val="127010"/>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 name="Picture Placeholder 5">
            <a:extLst>
              <a:ext uri="{FF2B5EF4-FFF2-40B4-BE49-F238E27FC236}">
                <a16:creationId xmlns:a16="http://schemas.microsoft.com/office/drawing/2014/main" id="{A3ADFEAB-4EB1-4C45-A7E3-143DA4490402}"/>
              </a:ext>
            </a:extLst>
          </p:cNvPr>
          <p:cNvSpPr>
            <a:spLocks noGrp="1"/>
          </p:cNvSpPr>
          <p:nvPr>
            <p:ph type="pic" sz="quarter" idx="10" hasCustomPrompt="1"/>
          </p:nvPr>
        </p:nvSpPr>
        <p:spPr>
          <a:xfrm>
            <a:off x="8305800" y="1460500"/>
            <a:ext cx="3454400" cy="4845933"/>
          </a:xfrm>
          <a:solidFill>
            <a:schemeClr val="bg1">
              <a:lumMod val="85000"/>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lvl1pPr marL="0" indent="0" algn="ctr">
              <a:buNone/>
              <a:defRPr lang="en-IN" sz="1800" b="0">
                <a:solidFill>
                  <a:schemeClr val="tx2"/>
                </a:solidFill>
                <a:effectLst/>
                <a:latin typeface="Segoe UI" panose="020B0502040204020203" pitchFamily="34" charset="0"/>
                <a:ea typeface="Times New Roman" panose="02020603050405020304" pitchFamily="18" charset="0"/>
                <a:cs typeface="Times New Roman" panose="02020603050405020304" pitchFamily="18" charset="0"/>
              </a:defRPr>
            </a:lvl1pPr>
          </a:lstStyle>
          <a:p>
            <a:pPr marL="285750" lvl="0" indent="-285750" defTabSz="914400">
              <a:lnSpc>
                <a:spcPct val="107000"/>
              </a:lnSpc>
              <a:spcBef>
                <a:spcPts val="0"/>
              </a:spcBef>
              <a:spcAft>
                <a:spcPts val="800"/>
              </a:spcAft>
              <a:buFont typeface="Arial" panose="020B0604020202020204" pitchFamily="34" charset="0"/>
              <a:buChar char="•"/>
            </a:pPr>
            <a:r>
              <a:rPr lang="en-US"/>
              <a:t>Insert image here</a:t>
            </a:r>
            <a:endParaRPr lang="en-IN"/>
          </a:p>
        </p:txBody>
      </p:sp>
      <p:sp>
        <p:nvSpPr>
          <p:cNvPr id="4" name="Text Placeholder 3">
            <a:extLst>
              <a:ext uri="{FF2B5EF4-FFF2-40B4-BE49-F238E27FC236}">
                <a16:creationId xmlns:a16="http://schemas.microsoft.com/office/drawing/2014/main" id="{570B4445-095A-4858-B124-F3A701587AB1}"/>
              </a:ext>
            </a:extLst>
          </p:cNvPr>
          <p:cNvSpPr>
            <a:spLocks noGrp="1"/>
          </p:cNvSpPr>
          <p:nvPr>
            <p:ph type="body" sz="quarter" idx="11" hasCustomPrompt="1"/>
          </p:nvPr>
        </p:nvSpPr>
        <p:spPr>
          <a:xfrm>
            <a:off x="427038" y="1566250"/>
            <a:ext cx="7381875" cy="1364330"/>
          </a:xfrm>
        </p:spPr>
        <p:txBody>
          <a:bodyPr/>
          <a:lstStyle>
            <a:lvl1pPr>
              <a:defRPr sz="1400">
                <a:latin typeface="+mj-lt"/>
              </a:defRPr>
            </a:lvl1pPr>
            <a:lvl2pPr marL="0" indent="0">
              <a:defRPr sz="1400">
                <a:solidFill>
                  <a:schemeClr val="tx1"/>
                </a:solidFill>
              </a:defRPr>
            </a:lvl2pPr>
          </a:lstStyle>
          <a:p>
            <a:pPr lvl="0"/>
            <a:r>
              <a:rPr lang="en-US"/>
              <a:t>Heading</a:t>
            </a:r>
          </a:p>
          <a:p>
            <a:pPr lvl="1"/>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eros </a:t>
            </a:r>
            <a:r>
              <a:rPr lang="en-US" err="1"/>
              <a:t>quis</a:t>
            </a:r>
            <a:r>
              <a:rPr lang="en-US"/>
              <a:t> </a:t>
            </a:r>
            <a:r>
              <a:rPr lang="en-US" err="1"/>
              <a:t>urna</a:t>
            </a:r>
            <a:r>
              <a:rPr lang="en-US"/>
              <a:t>.</a:t>
            </a:r>
          </a:p>
        </p:txBody>
      </p:sp>
      <p:sp>
        <p:nvSpPr>
          <p:cNvPr id="15" name="Text Placeholder 3">
            <a:extLst>
              <a:ext uri="{FF2B5EF4-FFF2-40B4-BE49-F238E27FC236}">
                <a16:creationId xmlns:a16="http://schemas.microsoft.com/office/drawing/2014/main" id="{B0580331-746B-4A83-87AB-A5208B1DBD66}"/>
              </a:ext>
            </a:extLst>
          </p:cNvPr>
          <p:cNvSpPr>
            <a:spLocks noGrp="1"/>
          </p:cNvSpPr>
          <p:nvPr>
            <p:ph type="body" sz="quarter" idx="12" hasCustomPrompt="1"/>
          </p:nvPr>
        </p:nvSpPr>
        <p:spPr>
          <a:xfrm>
            <a:off x="427038" y="3247349"/>
            <a:ext cx="7381875" cy="1364330"/>
          </a:xfrm>
        </p:spPr>
        <p:txBody>
          <a:bodyPr/>
          <a:lstStyle>
            <a:lvl1pPr>
              <a:defRPr sz="1400">
                <a:latin typeface="+mj-lt"/>
              </a:defRPr>
            </a:lvl1pPr>
            <a:lvl2pPr marL="0" indent="0">
              <a:defRPr sz="1400">
                <a:solidFill>
                  <a:schemeClr val="tx1"/>
                </a:solidFill>
              </a:defRPr>
            </a:lvl2pPr>
          </a:lstStyle>
          <a:p>
            <a:pPr lvl="0"/>
            <a:r>
              <a:rPr lang="en-US"/>
              <a:t>Heading</a:t>
            </a:r>
          </a:p>
          <a:p>
            <a:pPr lvl="1"/>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eros </a:t>
            </a:r>
            <a:r>
              <a:rPr lang="en-US" err="1"/>
              <a:t>quis</a:t>
            </a:r>
            <a:r>
              <a:rPr lang="en-US"/>
              <a:t> </a:t>
            </a:r>
            <a:r>
              <a:rPr lang="en-US" err="1"/>
              <a:t>urna</a:t>
            </a:r>
            <a:r>
              <a:rPr lang="en-US"/>
              <a:t>.</a:t>
            </a:r>
          </a:p>
        </p:txBody>
      </p:sp>
      <p:sp>
        <p:nvSpPr>
          <p:cNvPr id="16" name="Text Placeholder 3">
            <a:extLst>
              <a:ext uri="{FF2B5EF4-FFF2-40B4-BE49-F238E27FC236}">
                <a16:creationId xmlns:a16="http://schemas.microsoft.com/office/drawing/2014/main" id="{99C94FC6-92CD-4FC3-B900-4B43776C1780}"/>
              </a:ext>
            </a:extLst>
          </p:cNvPr>
          <p:cNvSpPr>
            <a:spLocks noGrp="1"/>
          </p:cNvSpPr>
          <p:nvPr>
            <p:ph type="body" sz="quarter" idx="13" hasCustomPrompt="1"/>
          </p:nvPr>
        </p:nvSpPr>
        <p:spPr>
          <a:xfrm>
            <a:off x="427038" y="4928448"/>
            <a:ext cx="7381875" cy="1364330"/>
          </a:xfrm>
        </p:spPr>
        <p:txBody>
          <a:bodyPr/>
          <a:lstStyle>
            <a:lvl1pPr>
              <a:defRPr sz="1400">
                <a:latin typeface="+mj-lt"/>
              </a:defRPr>
            </a:lvl1pPr>
            <a:lvl2pPr marL="0" indent="0">
              <a:defRPr sz="1400">
                <a:solidFill>
                  <a:schemeClr val="tx1"/>
                </a:solidFill>
              </a:defRPr>
            </a:lvl2pPr>
          </a:lstStyle>
          <a:p>
            <a:pPr lvl="0"/>
            <a:r>
              <a:rPr lang="en-US"/>
              <a:t>Heading</a:t>
            </a:r>
          </a:p>
          <a:p>
            <a:pPr lvl="1"/>
            <a:r>
              <a:rPr lang="en-US"/>
              <a:t>Lorem ipsum dolor sit amet, consectetuer adipiscing elit. Maecenas porttitor congue massa. Fusce posuere, magna sed pulvinar ultricies, purus lectus malesuada libero, sit amet commodo magna eros quis </a:t>
            </a:r>
            <a:r>
              <a:rPr lang="en-US" err="1"/>
              <a:t>urna</a:t>
            </a:r>
            <a:r>
              <a:rPr lang="en-US"/>
              <a:t>.</a:t>
            </a:r>
          </a:p>
        </p:txBody>
      </p:sp>
    </p:spTree>
    <p:extLst>
      <p:ext uri="{BB962C8B-B14F-4D97-AF65-F5344CB8AC3E}">
        <p14:creationId xmlns:p14="http://schemas.microsoft.com/office/powerpoint/2010/main" val="3137650728"/>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4 columns content w/ image">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0F7508-C740-42AB-B200-EB54F3078A5F}"/>
              </a:ext>
            </a:extLst>
          </p:cNvPr>
          <p:cNvSpPr>
            <a:spLocks noGrp="1"/>
          </p:cNvSpPr>
          <p:nvPr>
            <p:ph type="title"/>
          </p:nvPr>
        </p:nvSpPr>
        <p:spPr>
          <a:xfrm>
            <a:off x="426424" y="435824"/>
            <a:ext cx="11346476" cy="744014"/>
          </a:xfrm>
        </p:spPr>
        <p:txBody>
          <a:bodyPr/>
          <a:lstStyle>
            <a:lvl1pPr>
              <a:defRPr/>
            </a:lvl1pPr>
          </a:lstStyle>
          <a:p>
            <a:r>
              <a:rPr lang="en-US"/>
              <a:t>Click to edit Master title style</a:t>
            </a:r>
          </a:p>
        </p:txBody>
      </p:sp>
      <p:sp>
        <p:nvSpPr>
          <p:cNvPr id="8" name="Rectangle 7">
            <a:extLst>
              <a:ext uri="{FF2B5EF4-FFF2-40B4-BE49-F238E27FC236}">
                <a16:creationId xmlns:a16="http://schemas.microsoft.com/office/drawing/2014/main" id="{297C7971-09FC-4A7C-9657-21D91173B55B}"/>
              </a:ext>
            </a:extLst>
          </p:cNvPr>
          <p:cNvSpPr/>
          <p:nvPr/>
        </p:nvSpPr>
        <p:spPr bwMode="auto">
          <a:xfrm>
            <a:off x="0" y="0"/>
            <a:ext cx="12192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indent="-285750" algn="l">
              <a:lnSpc>
                <a:spcPct val="107000"/>
              </a:lnSpc>
              <a:spcBef>
                <a:spcPts val="0"/>
              </a:spcBef>
              <a:spcAft>
                <a:spcPts val="800"/>
              </a:spcAft>
              <a:buFont typeface="Arial" panose="020B0604020202020204" pitchFamily="34" charset="0"/>
              <a:buChar char="•"/>
            </a:pPr>
            <a:endParaRPr lang="en-US" sz="180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cxnSp>
        <p:nvCxnSpPr>
          <p:cNvPr id="14" name="Straight Connector 13">
            <a:extLst>
              <a:ext uri="{FF2B5EF4-FFF2-40B4-BE49-F238E27FC236}">
                <a16:creationId xmlns:a16="http://schemas.microsoft.com/office/drawing/2014/main" id="{82FDFD28-F112-450D-A1BA-AD4B3857AB96}"/>
              </a:ext>
            </a:extLst>
          </p:cNvPr>
          <p:cNvCxnSpPr>
            <a:cxnSpLocks/>
          </p:cNvCxnSpPr>
          <p:nvPr/>
        </p:nvCxnSpPr>
        <p:spPr>
          <a:xfrm>
            <a:off x="3160088" y="3300126"/>
            <a:ext cx="0" cy="2187085"/>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B3293D3-98E7-4FB5-8FA6-7CB6BE91CA9F}"/>
              </a:ext>
            </a:extLst>
          </p:cNvPr>
          <p:cNvCxnSpPr>
            <a:cxnSpLocks/>
          </p:cNvCxnSpPr>
          <p:nvPr/>
        </p:nvCxnSpPr>
        <p:spPr>
          <a:xfrm>
            <a:off x="6103327" y="3300126"/>
            <a:ext cx="0" cy="2187085"/>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039C7B3B-45E9-488C-A152-D90C0EA551C8}"/>
              </a:ext>
            </a:extLst>
          </p:cNvPr>
          <p:cNvCxnSpPr>
            <a:cxnSpLocks/>
          </p:cNvCxnSpPr>
          <p:nvPr/>
        </p:nvCxnSpPr>
        <p:spPr>
          <a:xfrm>
            <a:off x="9046566" y="3300126"/>
            <a:ext cx="0" cy="2187085"/>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0" name="Text Placeholder 4">
            <a:extLst>
              <a:ext uri="{FF2B5EF4-FFF2-40B4-BE49-F238E27FC236}">
                <a16:creationId xmlns:a16="http://schemas.microsoft.com/office/drawing/2014/main" id="{2C72DC08-C3B7-4D7A-A04D-970F0481651D}"/>
              </a:ext>
            </a:extLst>
          </p:cNvPr>
          <p:cNvSpPr>
            <a:spLocks noGrp="1"/>
          </p:cNvSpPr>
          <p:nvPr>
            <p:ph type="body" sz="quarter" idx="10" hasCustomPrompt="1"/>
          </p:nvPr>
        </p:nvSpPr>
        <p:spPr>
          <a:xfrm>
            <a:off x="427200" y="1413848"/>
            <a:ext cx="2522537" cy="321468"/>
          </a:xfrm>
        </p:spPr>
        <p:txBody>
          <a:bodyPr anchor="b"/>
          <a:lstStyle>
            <a:lvl1pPr algn="ctr">
              <a:defRPr sz="1400">
                <a:solidFill>
                  <a:srgbClr val="C00000"/>
                </a:solidFill>
                <a:latin typeface="+mj-lt"/>
              </a:defRPr>
            </a:lvl1pPr>
          </a:lstStyle>
          <a:p>
            <a:pPr lvl="0"/>
            <a:r>
              <a:rPr lang="en-US"/>
              <a:t>Heading</a:t>
            </a:r>
          </a:p>
        </p:txBody>
      </p:sp>
      <p:sp>
        <p:nvSpPr>
          <p:cNvPr id="22" name="Text Placeholder 9">
            <a:extLst>
              <a:ext uri="{FF2B5EF4-FFF2-40B4-BE49-F238E27FC236}">
                <a16:creationId xmlns:a16="http://schemas.microsoft.com/office/drawing/2014/main" id="{2EC97A8B-3C7C-40A1-8004-1E5BB0CA31BD}"/>
              </a:ext>
            </a:extLst>
          </p:cNvPr>
          <p:cNvSpPr>
            <a:spLocks noGrp="1"/>
          </p:cNvSpPr>
          <p:nvPr>
            <p:ph type="body" sz="quarter" idx="12" hasCustomPrompt="1"/>
          </p:nvPr>
        </p:nvSpPr>
        <p:spPr>
          <a:xfrm>
            <a:off x="427200" y="3376613"/>
            <a:ext cx="2522537" cy="2643187"/>
          </a:xfrm>
        </p:spPr>
        <p:txBody>
          <a:bodyPr/>
          <a:lstStyle>
            <a:lvl1pPr marL="0" indent="0" algn="ctr">
              <a:spcBef>
                <a:spcPts val="0"/>
              </a:spcBef>
              <a:spcAft>
                <a:spcPts val="1200"/>
              </a:spcAft>
              <a:defRPr sz="1200">
                <a:latin typeface="+mj-lt"/>
              </a:defRPr>
            </a:lvl1pPr>
            <a:lvl2pPr marL="0" indent="0" algn="ctr">
              <a:spcBef>
                <a:spcPts val="0"/>
              </a:spcBef>
              <a:spcAft>
                <a:spcPts val="1200"/>
              </a:spcAft>
              <a:defRPr sz="1200">
                <a:latin typeface="+mn-lt"/>
              </a:defRPr>
            </a:lvl2pPr>
          </a:lstStyle>
          <a:p>
            <a:pPr lvl="0"/>
            <a:r>
              <a:rPr lang="en-US"/>
              <a:t>Sub heading</a:t>
            </a:r>
          </a:p>
          <a:p>
            <a:pPr lvl="1"/>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eros </a:t>
            </a:r>
            <a:r>
              <a:rPr lang="en-US" err="1"/>
              <a:t>quis</a:t>
            </a:r>
            <a:r>
              <a:rPr lang="en-US"/>
              <a:t> </a:t>
            </a:r>
            <a:r>
              <a:rPr lang="en-US" err="1"/>
              <a:t>urna</a:t>
            </a:r>
            <a:r>
              <a:rPr lang="en-US"/>
              <a:t>.</a:t>
            </a:r>
          </a:p>
          <a:p>
            <a:pPr lvl="1"/>
            <a:r>
              <a:rPr lang="en-US"/>
              <a:t>Nunc </a:t>
            </a:r>
            <a:r>
              <a:rPr lang="en-US" err="1"/>
              <a:t>viverra</a:t>
            </a:r>
            <a:r>
              <a:rPr lang="en-US"/>
              <a:t> </a:t>
            </a:r>
            <a:r>
              <a:rPr lang="en-US" err="1"/>
              <a:t>imperdiet</a:t>
            </a:r>
            <a:r>
              <a:rPr lang="en-US"/>
              <a:t> </a:t>
            </a:r>
            <a:r>
              <a:rPr lang="en-US" err="1"/>
              <a:t>enim</a:t>
            </a:r>
            <a:r>
              <a:rPr lang="en-US"/>
              <a:t>. </a:t>
            </a:r>
            <a:r>
              <a:rPr lang="en-US" err="1"/>
              <a:t>Fusce</a:t>
            </a:r>
            <a:r>
              <a:rPr lang="en-US"/>
              <a:t> est. </a:t>
            </a:r>
            <a:r>
              <a:rPr lang="en-US" err="1"/>
              <a:t>Vivamus</a:t>
            </a:r>
            <a:r>
              <a:rPr lang="en-US"/>
              <a:t> a </a:t>
            </a:r>
            <a:r>
              <a:rPr lang="en-US" err="1"/>
              <a:t>tellus</a:t>
            </a:r>
            <a:r>
              <a:rPr lang="en-US"/>
              <a:t>.</a:t>
            </a:r>
          </a:p>
        </p:txBody>
      </p:sp>
      <p:sp>
        <p:nvSpPr>
          <p:cNvPr id="23" name="Text Placeholder 4">
            <a:extLst>
              <a:ext uri="{FF2B5EF4-FFF2-40B4-BE49-F238E27FC236}">
                <a16:creationId xmlns:a16="http://schemas.microsoft.com/office/drawing/2014/main" id="{33A5E712-B846-4430-A129-6EE3F2CC3F9D}"/>
              </a:ext>
            </a:extLst>
          </p:cNvPr>
          <p:cNvSpPr>
            <a:spLocks noGrp="1"/>
          </p:cNvSpPr>
          <p:nvPr>
            <p:ph type="body" sz="quarter" idx="13" hasCustomPrompt="1"/>
          </p:nvPr>
        </p:nvSpPr>
        <p:spPr>
          <a:xfrm>
            <a:off x="3370439" y="1390261"/>
            <a:ext cx="2523744" cy="345055"/>
          </a:xfrm>
        </p:spPr>
        <p:txBody>
          <a:bodyPr anchor="b"/>
          <a:lstStyle>
            <a:lvl1pPr algn="ctr">
              <a:defRPr sz="1400">
                <a:solidFill>
                  <a:srgbClr val="997ACD"/>
                </a:solidFill>
                <a:latin typeface="+mj-lt"/>
              </a:defRPr>
            </a:lvl1pPr>
          </a:lstStyle>
          <a:p>
            <a:pPr lvl="0"/>
            <a:r>
              <a:rPr lang="en-US"/>
              <a:t>Heading</a:t>
            </a:r>
            <a:endParaRPr lang="en-IN"/>
          </a:p>
        </p:txBody>
      </p:sp>
      <p:sp>
        <p:nvSpPr>
          <p:cNvPr id="24" name="Picture Placeholder 6">
            <a:extLst>
              <a:ext uri="{FF2B5EF4-FFF2-40B4-BE49-F238E27FC236}">
                <a16:creationId xmlns:a16="http://schemas.microsoft.com/office/drawing/2014/main" id="{F3CB9218-583A-406A-A0C5-E231913E5744}"/>
              </a:ext>
            </a:extLst>
          </p:cNvPr>
          <p:cNvSpPr>
            <a:spLocks noGrp="1"/>
          </p:cNvSpPr>
          <p:nvPr>
            <p:ph type="pic" sz="quarter" idx="14" hasCustomPrompt="1"/>
          </p:nvPr>
        </p:nvSpPr>
        <p:spPr>
          <a:xfrm>
            <a:off x="3370439" y="1847850"/>
            <a:ext cx="2522537" cy="1397000"/>
          </a:xfrm>
        </p:spPr>
        <p:txBody>
          <a:bodyPr tIns="274320" anchor="t"/>
          <a:lstStyle>
            <a:lvl1pPr algn="ctr">
              <a:defRPr sz="1200" b="0">
                <a:latin typeface="+mn-lt"/>
              </a:defRPr>
            </a:lvl1pPr>
          </a:lstStyle>
          <a:p>
            <a:r>
              <a:rPr lang="en-US"/>
              <a:t>Click here</a:t>
            </a:r>
            <a:endParaRPr lang="en-IN"/>
          </a:p>
        </p:txBody>
      </p:sp>
      <p:sp>
        <p:nvSpPr>
          <p:cNvPr id="26" name="Text Placeholder 9">
            <a:extLst>
              <a:ext uri="{FF2B5EF4-FFF2-40B4-BE49-F238E27FC236}">
                <a16:creationId xmlns:a16="http://schemas.microsoft.com/office/drawing/2014/main" id="{A15DC544-CB66-48A8-904C-FC750EDFDE62}"/>
              </a:ext>
            </a:extLst>
          </p:cNvPr>
          <p:cNvSpPr>
            <a:spLocks noGrp="1"/>
          </p:cNvSpPr>
          <p:nvPr>
            <p:ph type="body" sz="quarter" idx="15" hasCustomPrompt="1"/>
          </p:nvPr>
        </p:nvSpPr>
        <p:spPr>
          <a:xfrm>
            <a:off x="3370439" y="3376613"/>
            <a:ext cx="2522537" cy="2643187"/>
          </a:xfrm>
        </p:spPr>
        <p:txBody>
          <a:bodyPr/>
          <a:lstStyle>
            <a:lvl1pPr marL="0" indent="0" algn="ctr">
              <a:spcBef>
                <a:spcPts val="0"/>
              </a:spcBef>
              <a:spcAft>
                <a:spcPts val="1200"/>
              </a:spcAft>
              <a:defRPr sz="1200">
                <a:latin typeface="+mj-lt"/>
              </a:defRPr>
            </a:lvl1pPr>
            <a:lvl2pPr marL="0" indent="0" algn="ctr">
              <a:spcBef>
                <a:spcPts val="0"/>
              </a:spcBef>
              <a:spcAft>
                <a:spcPts val="1200"/>
              </a:spcAft>
              <a:defRPr sz="1200">
                <a:latin typeface="+mn-lt"/>
              </a:defRPr>
            </a:lvl2pPr>
          </a:lstStyle>
          <a:p>
            <a:pPr lvl="0"/>
            <a:r>
              <a:rPr lang="en-US"/>
              <a:t>Sub heading</a:t>
            </a:r>
          </a:p>
          <a:p>
            <a:pPr lvl="1"/>
            <a:r>
              <a:rPr lang="en-US"/>
              <a:t>Lorem ipsum dolor sit amet, consectetuer adipiscing elit. Maecenas porttitor congue massa. Fusce posuere, magna sed pulvinar ultricies, purus lectus malesuada libero, sit amet commodo magna eros quis </a:t>
            </a:r>
            <a:r>
              <a:rPr lang="en-US" err="1"/>
              <a:t>urna</a:t>
            </a:r>
            <a:r>
              <a:rPr lang="en-US"/>
              <a:t>.</a:t>
            </a:r>
          </a:p>
          <a:p>
            <a:pPr lvl="1"/>
            <a:r>
              <a:rPr lang="en-US"/>
              <a:t>Nunc viverra imperdiet enim. Fusce est. Vivamus a </a:t>
            </a:r>
            <a:r>
              <a:rPr lang="en-US" err="1"/>
              <a:t>tellus</a:t>
            </a:r>
            <a:r>
              <a:rPr lang="en-US"/>
              <a:t>.</a:t>
            </a:r>
          </a:p>
        </p:txBody>
      </p:sp>
      <p:sp>
        <p:nvSpPr>
          <p:cNvPr id="27" name="Text Placeholder 4">
            <a:extLst>
              <a:ext uri="{FF2B5EF4-FFF2-40B4-BE49-F238E27FC236}">
                <a16:creationId xmlns:a16="http://schemas.microsoft.com/office/drawing/2014/main" id="{3CBF21CC-CA95-4B5A-AA93-863B7FC86EDC}"/>
              </a:ext>
            </a:extLst>
          </p:cNvPr>
          <p:cNvSpPr>
            <a:spLocks noGrp="1"/>
          </p:cNvSpPr>
          <p:nvPr>
            <p:ph type="body" sz="quarter" idx="16" hasCustomPrompt="1"/>
          </p:nvPr>
        </p:nvSpPr>
        <p:spPr>
          <a:xfrm>
            <a:off x="6313678" y="1390261"/>
            <a:ext cx="2523744" cy="345055"/>
          </a:xfrm>
        </p:spPr>
        <p:txBody>
          <a:bodyPr anchor="b"/>
          <a:lstStyle>
            <a:lvl1pPr algn="ctr">
              <a:defRPr sz="1400">
                <a:solidFill>
                  <a:srgbClr val="127010"/>
                </a:solidFill>
                <a:latin typeface="+mj-lt"/>
              </a:defRPr>
            </a:lvl1pPr>
          </a:lstStyle>
          <a:p>
            <a:pPr lvl="0"/>
            <a:r>
              <a:rPr lang="en-US"/>
              <a:t>Heading</a:t>
            </a:r>
            <a:endParaRPr lang="en-IN"/>
          </a:p>
        </p:txBody>
      </p:sp>
      <p:sp>
        <p:nvSpPr>
          <p:cNvPr id="28" name="Picture Placeholder 6">
            <a:extLst>
              <a:ext uri="{FF2B5EF4-FFF2-40B4-BE49-F238E27FC236}">
                <a16:creationId xmlns:a16="http://schemas.microsoft.com/office/drawing/2014/main" id="{4124DF24-C309-4F49-87C5-C33347DA5171}"/>
              </a:ext>
            </a:extLst>
          </p:cNvPr>
          <p:cNvSpPr>
            <a:spLocks noGrp="1"/>
          </p:cNvSpPr>
          <p:nvPr>
            <p:ph type="pic" sz="quarter" idx="17" hasCustomPrompt="1"/>
          </p:nvPr>
        </p:nvSpPr>
        <p:spPr>
          <a:xfrm>
            <a:off x="6313678" y="1847850"/>
            <a:ext cx="2522537" cy="1397000"/>
          </a:xfrm>
        </p:spPr>
        <p:txBody>
          <a:bodyPr tIns="274320" anchor="t"/>
          <a:lstStyle>
            <a:lvl1pPr algn="ctr">
              <a:defRPr sz="1200" b="0">
                <a:latin typeface="+mn-lt"/>
              </a:defRPr>
            </a:lvl1pPr>
          </a:lstStyle>
          <a:p>
            <a:r>
              <a:rPr lang="en-US"/>
              <a:t>Click here</a:t>
            </a:r>
            <a:endParaRPr lang="en-IN"/>
          </a:p>
        </p:txBody>
      </p:sp>
      <p:sp>
        <p:nvSpPr>
          <p:cNvPr id="29" name="Text Placeholder 9">
            <a:extLst>
              <a:ext uri="{FF2B5EF4-FFF2-40B4-BE49-F238E27FC236}">
                <a16:creationId xmlns:a16="http://schemas.microsoft.com/office/drawing/2014/main" id="{B097E3E0-51C5-4C09-A03C-F20AD0829AF8}"/>
              </a:ext>
            </a:extLst>
          </p:cNvPr>
          <p:cNvSpPr>
            <a:spLocks noGrp="1"/>
          </p:cNvSpPr>
          <p:nvPr>
            <p:ph type="body" sz="quarter" idx="18" hasCustomPrompt="1"/>
          </p:nvPr>
        </p:nvSpPr>
        <p:spPr>
          <a:xfrm>
            <a:off x="6313678" y="3376613"/>
            <a:ext cx="2522537" cy="2643187"/>
          </a:xfrm>
        </p:spPr>
        <p:txBody>
          <a:bodyPr/>
          <a:lstStyle>
            <a:lvl1pPr marL="0" indent="0" algn="ctr">
              <a:spcBef>
                <a:spcPts val="0"/>
              </a:spcBef>
              <a:spcAft>
                <a:spcPts val="1200"/>
              </a:spcAft>
              <a:defRPr sz="1200">
                <a:latin typeface="+mj-lt"/>
              </a:defRPr>
            </a:lvl1pPr>
            <a:lvl2pPr marL="0" indent="0" algn="ctr">
              <a:spcBef>
                <a:spcPts val="0"/>
              </a:spcBef>
              <a:spcAft>
                <a:spcPts val="1200"/>
              </a:spcAft>
              <a:defRPr sz="1200">
                <a:latin typeface="+mn-lt"/>
              </a:defRPr>
            </a:lvl2pPr>
          </a:lstStyle>
          <a:p>
            <a:pPr lvl="0"/>
            <a:r>
              <a:rPr lang="en-US"/>
              <a:t>Sub heading</a:t>
            </a:r>
          </a:p>
          <a:p>
            <a:pPr lvl="1"/>
            <a:r>
              <a:rPr lang="en-US"/>
              <a:t>Lorem ipsum dolor sit amet, consectetuer adipiscing elit. Maecenas porttitor congue massa. Fusce posuere, magna sed pulvinar ultricies, purus lectus malesuada libero, sit amet commodo magna eros quis </a:t>
            </a:r>
            <a:r>
              <a:rPr lang="en-US" err="1"/>
              <a:t>urna</a:t>
            </a:r>
            <a:r>
              <a:rPr lang="en-US"/>
              <a:t>.</a:t>
            </a:r>
          </a:p>
          <a:p>
            <a:pPr lvl="1"/>
            <a:r>
              <a:rPr lang="en-US"/>
              <a:t>Nunc viverra imperdiet enim. Fusce est. Vivamus a </a:t>
            </a:r>
            <a:r>
              <a:rPr lang="en-US" err="1"/>
              <a:t>tellus</a:t>
            </a:r>
            <a:r>
              <a:rPr lang="en-US"/>
              <a:t>.</a:t>
            </a:r>
          </a:p>
        </p:txBody>
      </p:sp>
      <p:sp>
        <p:nvSpPr>
          <p:cNvPr id="30" name="Text Placeholder 4">
            <a:extLst>
              <a:ext uri="{FF2B5EF4-FFF2-40B4-BE49-F238E27FC236}">
                <a16:creationId xmlns:a16="http://schemas.microsoft.com/office/drawing/2014/main" id="{BA295574-C8D8-4C0E-9E3B-6EDE57875B4B}"/>
              </a:ext>
            </a:extLst>
          </p:cNvPr>
          <p:cNvSpPr>
            <a:spLocks noGrp="1"/>
          </p:cNvSpPr>
          <p:nvPr>
            <p:ph type="body" sz="quarter" idx="19" hasCustomPrompt="1"/>
          </p:nvPr>
        </p:nvSpPr>
        <p:spPr>
          <a:xfrm>
            <a:off x="9256918" y="1390261"/>
            <a:ext cx="2523744" cy="345055"/>
          </a:xfrm>
        </p:spPr>
        <p:txBody>
          <a:bodyPr anchor="b"/>
          <a:lstStyle>
            <a:lvl1pPr algn="ctr">
              <a:defRPr sz="1400">
                <a:solidFill>
                  <a:srgbClr val="FFC000"/>
                </a:solidFill>
                <a:latin typeface="+mj-lt"/>
              </a:defRPr>
            </a:lvl1pPr>
          </a:lstStyle>
          <a:p>
            <a:pPr lvl="0"/>
            <a:r>
              <a:rPr lang="en-US"/>
              <a:t>Heading</a:t>
            </a:r>
            <a:endParaRPr lang="en-IN"/>
          </a:p>
        </p:txBody>
      </p:sp>
      <p:sp>
        <p:nvSpPr>
          <p:cNvPr id="31" name="Picture Placeholder 6">
            <a:extLst>
              <a:ext uri="{FF2B5EF4-FFF2-40B4-BE49-F238E27FC236}">
                <a16:creationId xmlns:a16="http://schemas.microsoft.com/office/drawing/2014/main" id="{2794D656-F651-4074-BD21-42C113101461}"/>
              </a:ext>
            </a:extLst>
          </p:cNvPr>
          <p:cNvSpPr>
            <a:spLocks noGrp="1"/>
          </p:cNvSpPr>
          <p:nvPr>
            <p:ph type="pic" sz="quarter" idx="20" hasCustomPrompt="1"/>
          </p:nvPr>
        </p:nvSpPr>
        <p:spPr>
          <a:xfrm>
            <a:off x="9256918" y="1847850"/>
            <a:ext cx="2522537" cy="1397000"/>
          </a:xfrm>
        </p:spPr>
        <p:txBody>
          <a:bodyPr tIns="274320" anchor="t"/>
          <a:lstStyle>
            <a:lvl1pPr algn="ctr">
              <a:defRPr sz="1200" b="0">
                <a:latin typeface="+mn-lt"/>
              </a:defRPr>
            </a:lvl1pPr>
          </a:lstStyle>
          <a:p>
            <a:r>
              <a:rPr lang="en-US"/>
              <a:t>Click here</a:t>
            </a:r>
            <a:endParaRPr lang="en-IN"/>
          </a:p>
        </p:txBody>
      </p:sp>
      <p:sp>
        <p:nvSpPr>
          <p:cNvPr id="32" name="Text Placeholder 9">
            <a:extLst>
              <a:ext uri="{FF2B5EF4-FFF2-40B4-BE49-F238E27FC236}">
                <a16:creationId xmlns:a16="http://schemas.microsoft.com/office/drawing/2014/main" id="{59F23661-B550-4329-83B9-DFF70D3D2F20}"/>
              </a:ext>
            </a:extLst>
          </p:cNvPr>
          <p:cNvSpPr>
            <a:spLocks noGrp="1"/>
          </p:cNvSpPr>
          <p:nvPr>
            <p:ph type="body" sz="quarter" idx="21" hasCustomPrompt="1"/>
          </p:nvPr>
        </p:nvSpPr>
        <p:spPr>
          <a:xfrm>
            <a:off x="9256918" y="3376613"/>
            <a:ext cx="2522537" cy="2643187"/>
          </a:xfrm>
        </p:spPr>
        <p:txBody>
          <a:bodyPr/>
          <a:lstStyle>
            <a:lvl1pPr marL="0" indent="0" algn="ctr">
              <a:spcBef>
                <a:spcPts val="0"/>
              </a:spcBef>
              <a:spcAft>
                <a:spcPts val="1200"/>
              </a:spcAft>
              <a:defRPr sz="1200">
                <a:latin typeface="+mj-lt"/>
              </a:defRPr>
            </a:lvl1pPr>
            <a:lvl2pPr marL="0" indent="0" algn="ctr">
              <a:spcBef>
                <a:spcPts val="0"/>
              </a:spcBef>
              <a:spcAft>
                <a:spcPts val="1200"/>
              </a:spcAft>
              <a:defRPr sz="1200">
                <a:latin typeface="+mn-lt"/>
              </a:defRPr>
            </a:lvl2pPr>
          </a:lstStyle>
          <a:p>
            <a:pPr lvl="0"/>
            <a:r>
              <a:rPr lang="en-US"/>
              <a:t>Sub heading</a:t>
            </a:r>
          </a:p>
          <a:p>
            <a:pPr lvl="1"/>
            <a:r>
              <a:rPr lang="en-US"/>
              <a:t>Lorem ipsum dolor sit amet, consectetuer adipiscing elit. Maecenas porttitor congue massa. Fusce posuere, magna sed pulvinar ultricies, purus lectus malesuada libero, sit amet commodo magna eros quis </a:t>
            </a:r>
            <a:r>
              <a:rPr lang="en-US" err="1"/>
              <a:t>urna</a:t>
            </a:r>
            <a:r>
              <a:rPr lang="en-US"/>
              <a:t>.</a:t>
            </a:r>
          </a:p>
          <a:p>
            <a:pPr lvl="1"/>
            <a:r>
              <a:rPr lang="en-US"/>
              <a:t>Nunc viverra imperdiet enim. Fusce est. Vivamus a </a:t>
            </a:r>
            <a:r>
              <a:rPr lang="en-US" err="1"/>
              <a:t>tellus</a:t>
            </a:r>
            <a:r>
              <a:rPr lang="en-US"/>
              <a:t>.</a:t>
            </a:r>
          </a:p>
        </p:txBody>
      </p:sp>
      <p:sp>
        <p:nvSpPr>
          <p:cNvPr id="33" name="Picture Placeholder 6">
            <a:extLst>
              <a:ext uri="{FF2B5EF4-FFF2-40B4-BE49-F238E27FC236}">
                <a16:creationId xmlns:a16="http://schemas.microsoft.com/office/drawing/2014/main" id="{7F1D5FAD-318F-46B3-907C-EF7BCC1FD640}"/>
              </a:ext>
            </a:extLst>
          </p:cNvPr>
          <p:cNvSpPr>
            <a:spLocks noGrp="1"/>
          </p:cNvSpPr>
          <p:nvPr>
            <p:ph type="pic" sz="quarter" idx="11" hasCustomPrompt="1"/>
          </p:nvPr>
        </p:nvSpPr>
        <p:spPr>
          <a:xfrm>
            <a:off x="427200" y="1847850"/>
            <a:ext cx="2522537" cy="1397000"/>
          </a:xfrm>
        </p:spPr>
        <p:txBody>
          <a:bodyPr tIns="274320" anchor="t"/>
          <a:lstStyle>
            <a:lvl1pPr algn="ctr">
              <a:defRPr sz="1200" b="0">
                <a:latin typeface="+mn-lt"/>
              </a:defRPr>
            </a:lvl1pPr>
          </a:lstStyle>
          <a:p>
            <a:r>
              <a:rPr lang="en-US"/>
              <a:t>Click here</a:t>
            </a:r>
            <a:endParaRPr lang="en-IN"/>
          </a:p>
        </p:txBody>
      </p:sp>
    </p:spTree>
    <p:extLst>
      <p:ext uri="{BB962C8B-B14F-4D97-AF65-F5344CB8AC3E}">
        <p14:creationId xmlns:p14="http://schemas.microsoft.com/office/powerpoint/2010/main" val="466209654"/>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1/3 Content w/ Image">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0F7508-C740-42AB-B200-EB54F3078A5F}"/>
              </a:ext>
            </a:extLst>
          </p:cNvPr>
          <p:cNvSpPr>
            <a:spLocks noGrp="1"/>
          </p:cNvSpPr>
          <p:nvPr>
            <p:ph type="title"/>
          </p:nvPr>
        </p:nvSpPr>
        <p:spPr>
          <a:xfrm>
            <a:off x="426425" y="435823"/>
            <a:ext cx="5906113" cy="1231143"/>
          </a:xfrm>
        </p:spPr>
        <p:txBody>
          <a:bodyPr/>
          <a:lstStyle>
            <a:lvl1pPr>
              <a:defRPr/>
            </a:lvl1pPr>
          </a:lstStyle>
          <a:p>
            <a:r>
              <a:rPr lang="en-US"/>
              <a:t>Click to edit Master title style</a:t>
            </a:r>
          </a:p>
        </p:txBody>
      </p:sp>
      <p:sp>
        <p:nvSpPr>
          <p:cNvPr id="8" name="Rectangle 7">
            <a:extLst>
              <a:ext uri="{FF2B5EF4-FFF2-40B4-BE49-F238E27FC236}">
                <a16:creationId xmlns:a16="http://schemas.microsoft.com/office/drawing/2014/main" id="{297C7971-09FC-4A7C-9657-21D91173B55B}"/>
              </a:ext>
            </a:extLst>
          </p:cNvPr>
          <p:cNvSpPr/>
          <p:nvPr/>
        </p:nvSpPr>
        <p:spPr bwMode="auto">
          <a:xfrm>
            <a:off x="0" y="0"/>
            <a:ext cx="12192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indent="-285750" algn="l">
              <a:lnSpc>
                <a:spcPct val="107000"/>
              </a:lnSpc>
              <a:spcBef>
                <a:spcPts val="0"/>
              </a:spcBef>
              <a:spcAft>
                <a:spcPts val="800"/>
              </a:spcAft>
              <a:buFont typeface="Arial" panose="020B0604020202020204" pitchFamily="34" charset="0"/>
              <a:buChar char="•"/>
            </a:pPr>
            <a:endParaRPr lang="en-US" sz="180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
        <p:nvSpPr>
          <p:cNvPr id="39" name="Rectangle 38">
            <a:extLst>
              <a:ext uri="{FF2B5EF4-FFF2-40B4-BE49-F238E27FC236}">
                <a16:creationId xmlns:a16="http://schemas.microsoft.com/office/drawing/2014/main" id="{704A823C-6E6E-48AA-9F4A-BE855E09B6DB}"/>
              </a:ext>
            </a:extLst>
          </p:cNvPr>
          <p:cNvSpPr/>
          <p:nvPr/>
        </p:nvSpPr>
        <p:spPr bwMode="auto">
          <a:xfrm>
            <a:off x="-2" y="1772582"/>
            <a:ext cx="6748891" cy="4533900"/>
          </a:xfrm>
          <a:prstGeom prst="rect">
            <a:avLst/>
          </a:prstGeom>
          <a:solidFill>
            <a:schemeClr val="bg1">
              <a:lumMod val="85000"/>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nSpc>
                <a:spcPct val="107000"/>
              </a:lnSpc>
              <a:spcBef>
                <a:spcPts val="0"/>
              </a:spcBef>
              <a:spcAft>
                <a:spcPts val="800"/>
              </a:spcAft>
              <a:buFont typeface="Arial" panose="020B0604020202020204" pitchFamily="34" charset="0"/>
              <a:buChar char="•"/>
            </a:pPr>
            <a:endParaRPr lang="en-US" b="1">
              <a:solidFill>
                <a:schemeClr val="bg1">
                  <a:lumMod val="85000"/>
                </a:schemeClr>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
        <p:nvSpPr>
          <p:cNvPr id="6" name="Picture Placeholder 5">
            <a:extLst>
              <a:ext uri="{FF2B5EF4-FFF2-40B4-BE49-F238E27FC236}">
                <a16:creationId xmlns:a16="http://schemas.microsoft.com/office/drawing/2014/main" id="{F9C44E58-A799-4F8E-A13B-46B326D61FB6}"/>
              </a:ext>
            </a:extLst>
          </p:cNvPr>
          <p:cNvSpPr>
            <a:spLocks noGrp="1"/>
          </p:cNvSpPr>
          <p:nvPr>
            <p:ph type="pic" sz="quarter" idx="10" hasCustomPrompt="1"/>
          </p:nvPr>
        </p:nvSpPr>
        <p:spPr>
          <a:xfrm>
            <a:off x="6748463" y="45719"/>
            <a:ext cx="5443537" cy="6812282"/>
          </a:xfrm>
          <a:solidFill>
            <a:schemeClr val="tx2">
              <a:lumMod val="10000"/>
              <a:lumOff val="90000"/>
            </a:schemeClr>
          </a:solidFill>
        </p:spPr>
        <p:txBody>
          <a:bodyPr anchor="ctr"/>
          <a:lstStyle>
            <a:lvl1pPr algn="ctr">
              <a:defRPr/>
            </a:lvl1pPr>
          </a:lstStyle>
          <a:p>
            <a:r>
              <a:rPr lang="en-US"/>
              <a:t>Insert image here</a:t>
            </a:r>
          </a:p>
        </p:txBody>
      </p:sp>
      <p:grpSp>
        <p:nvGrpSpPr>
          <p:cNvPr id="7" name="Group 6">
            <a:extLst>
              <a:ext uri="{FF2B5EF4-FFF2-40B4-BE49-F238E27FC236}">
                <a16:creationId xmlns:a16="http://schemas.microsoft.com/office/drawing/2014/main" id="{22257D43-4195-4FE6-BD1A-A79709480E61}"/>
              </a:ext>
            </a:extLst>
          </p:cNvPr>
          <p:cNvGrpSpPr/>
          <p:nvPr/>
        </p:nvGrpSpPr>
        <p:grpSpPr>
          <a:xfrm>
            <a:off x="-2" y="1947628"/>
            <a:ext cx="1456092" cy="863933"/>
            <a:chOff x="-2" y="10564222"/>
            <a:chExt cx="1456092" cy="863933"/>
          </a:xfrm>
        </p:grpSpPr>
        <p:sp>
          <p:nvSpPr>
            <p:cNvPr id="27" name="Rectangle 26">
              <a:extLst>
                <a:ext uri="{FF2B5EF4-FFF2-40B4-BE49-F238E27FC236}">
                  <a16:creationId xmlns:a16="http://schemas.microsoft.com/office/drawing/2014/main" id="{AC0193A4-DCC4-487B-96D1-574C5E4D3ADE}"/>
                </a:ext>
              </a:extLst>
            </p:cNvPr>
            <p:cNvSpPr/>
            <p:nvPr/>
          </p:nvSpPr>
          <p:spPr bwMode="auto">
            <a:xfrm>
              <a:off x="-2" y="10564222"/>
              <a:ext cx="1018878" cy="863933"/>
            </a:xfrm>
            <a:prstGeom prst="rect">
              <a:avLst/>
            </a:prstGeom>
            <a:solidFill>
              <a:srgbClr val="1270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indent="-285750" algn="l">
                <a:spcBef>
                  <a:spcPts val="0"/>
                </a:spcBef>
                <a:spcAft>
                  <a:spcPts val="800"/>
                </a:spcAft>
                <a:buFont typeface="Arial" panose="020B0604020202020204" pitchFamily="34" charset="0"/>
                <a:buChar char="•"/>
              </a:pPr>
              <a:endParaRPr lang="en-US" sz="1800" b="1">
                <a:solidFill>
                  <a:schemeClr val="tx1"/>
                </a:solidFill>
                <a:effectLst/>
                <a:ea typeface="Times New Roman" panose="02020603050405020304" pitchFamily="18" charset="0"/>
                <a:cs typeface="Times New Roman" panose="02020603050405020304" pitchFamily="18" charset="0"/>
              </a:endParaRPr>
            </a:p>
          </p:txBody>
        </p:sp>
        <p:sp>
          <p:nvSpPr>
            <p:cNvPr id="28" name="Oval 27">
              <a:extLst>
                <a:ext uri="{FF2B5EF4-FFF2-40B4-BE49-F238E27FC236}">
                  <a16:creationId xmlns:a16="http://schemas.microsoft.com/office/drawing/2014/main" id="{8B0BB410-38EF-4429-A13C-A77F47E1093E}"/>
                </a:ext>
              </a:extLst>
            </p:cNvPr>
            <p:cNvSpPr/>
            <p:nvPr/>
          </p:nvSpPr>
          <p:spPr bwMode="auto">
            <a:xfrm rot="5400000">
              <a:off x="592157" y="10564222"/>
              <a:ext cx="863933" cy="863933"/>
            </a:xfrm>
            <a:prstGeom prst="ellipse">
              <a:avLst/>
            </a:prstGeom>
            <a:solidFill>
              <a:srgbClr val="1270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indent="-285750" algn="l">
                <a:spcBef>
                  <a:spcPts val="0"/>
                </a:spcBef>
                <a:spcAft>
                  <a:spcPts val="800"/>
                </a:spcAft>
                <a:buFont typeface="Arial" panose="020B0604020202020204" pitchFamily="34" charset="0"/>
                <a:buChar char="•"/>
              </a:pPr>
              <a:endParaRPr lang="en-US" sz="1800" b="1">
                <a:solidFill>
                  <a:schemeClr val="tx1"/>
                </a:solidFill>
                <a:effectLst/>
                <a:ea typeface="Times New Roman" panose="02020603050405020304" pitchFamily="18" charset="0"/>
                <a:cs typeface="Times New Roman" panose="02020603050405020304" pitchFamily="18" charset="0"/>
              </a:endParaRPr>
            </a:p>
          </p:txBody>
        </p:sp>
        <p:sp>
          <p:nvSpPr>
            <p:cNvPr id="29" name="Oval 28">
              <a:extLst>
                <a:ext uri="{FF2B5EF4-FFF2-40B4-BE49-F238E27FC236}">
                  <a16:creationId xmlns:a16="http://schemas.microsoft.com/office/drawing/2014/main" id="{A5627C07-33E3-4A29-B364-24E9D95B405D}"/>
                </a:ext>
              </a:extLst>
            </p:cNvPr>
            <p:cNvSpPr/>
            <p:nvPr/>
          </p:nvSpPr>
          <p:spPr bwMode="auto">
            <a:xfrm rot="5400000">
              <a:off x="668901" y="10640966"/>
              <a:ext cx="710446" cy="71044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indent="-285750" algn="l">
                <a:spcBef>
                  <a:spcPts val="0"/>
                </a:spcBef>
                <a:spcAft>
                  <a:spcPts val="800"/>
                </a:spcAft>
                <a:buFont typeface="Arial" panose="020B0604020202020204" pitchFamily="34" charset="0"/>
                <a:buChar char="•"/>
              </a:pPr>
              <a:endParaRPr lang="en-US" sz="1800" b="1">
                <a:solidFill>
                  <a:schemeClr val="tx1"/>
                </a:solidFill>
                <a:effectLst/>
                <a:ea typeface="Times New Roman" panose="02020603050405020304" pitchFamily="18" charset="0"/>
                <a:cs typeface="Times New Roman" panose="02020603050405020304" pitchFamily="18" charset="0"/>
              </a:endParaRPr>
            </a:p>
          </p:txBody>
        </p:sp>
      </p:grpSp>
      <p:sp>
        <p:nvSpPr>
          <p:cNvPr id="4" name="Text Placeholder 3">
            <a:extLst>
              <a:ext uri="{FF2B5EF4-FFF2-40B4-BE49-F238E27FC236}">
                <a16:creationId xmlns:a16="http://schemas.microsoft.com/office/drawing/2014/main" id="{F1287A27-8756-4A48-9750-7CEC37816AFC}"/>
              </a:ext>
            </a:extLst>
          </p:cNvPr>
          <p:cNvSpPr>
            <a:spLocks noGrp="1"/>
          </p:cNvSpPr>
          <p:nvPr>
            <p:ph type="body" sz="quarter" idx="11" hasCustomPrompt="1"/>
          </p:nvPr>
        </p:nvSpPr>
        <p:spPr>
          <a:xfrm>
            <a:off x="419100" y="2895600"/>
            <a:ext cx="5913438" cy="3124200"/>
          </a:xfrm>
        </p:spPr>
        <p:txBody>
          <a:bodyPr/>
          <a:lstStyle>
            <a:lvl1pPr>
              <a:defRPr sz="1600"/>
            </a:lvl1pPr>
          </a:lstStyle>
          <a:p>
            <a:pPr lvl="0"/>
            <a:r>
              <a:rPr lang="en-US"/>
              <a:t>Insert text here</a:t>
            </a:r>
          </a:p>
        </p:txBody>
      </p:sp>
      <p:sp>
        <p:nvSpPr>
          <p:cNvPr id="18" name="Picture Placeholder 57">
            <a:extLst>
              <a:ext uri="{FF2B5EF4-FFF2-40B4-BE49-F238E27FC236}">
                <a16:creationId xmlns:a16="http://schemas.microsoft.com/office/drawing/2014/main" id="{0002635D-D349-4C94-BFE0-E7468E3887DC}"/>
              </a:ext>
            </a:extLst>
          </p:cNvPr>
          <p:cNvSpPr>
            <a:spLocks noGrp="1"/>
          </p:cNvSpPr>
          <p:nvPr>
            <p:ph type="pic" sz="quarter" idx="18" hasCustomPrompt="1"/>
          </p:nvPr>
        </p:nvSpPr>
        <p:spPr>
          <a:xfrm>
            <a:off x="709014" y="2069753"/>
            <a:ext cx="619724" cy="619724"/>
          </a:xfrm>
          <a:prstGeom prst="ellipse">
            <a:avLst/>
          </a:prstGeom>
        </p:spPr>
        <p:txBody>
          <a:bodyPr anchor="ctr">
            <a:normAutofit/>
          </a:bodyPr>
          <a:lstStyle>
            <a:lvl1pPr algn="ctr">
              <a:defRPr sz="1100">
                <a:solidFill>
                  <a:schemeClr val="tx2"/>
                </a:solidFill>
              </a:defRPr>
            </a:lvl1pPr>
          </a:lstStyle>
          <a:p>
            <a:r>
              <a:rPr lang="en-US"/>
              <a:t>Icon</a:t>
            </a:r>
          </a:p>
        </p:txBody>
      </p:sp>
    </p:spTree>
    <p:extLst>
      <p:ext uri="{BB962C8B-B14F-4D97-AF65-F5344CB8AC3E}">
        <p14:creationId xmlns:p14="http://schemas.microsoft.com/office/powerpoint/2010/main" val="2093905622"/>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Conclusion w/ content">
    <p:bg>
      <p:bgPr>
        <a:solidFill>
          <a:schemeClr val="bg1">
            <a:lumMod val="95000"/>
          </a:schemeClr>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89A6215-ADAF-4F3A-B98D-BA4371B8E84F}"/>
              </a:ext>
            </a:extLst>
          </p:cNvPr>
          <p:cNvSpPr/>
          <p:nvPr/>
        </p:nvSpPr>
        <p:spPr bwMode="auto">
          <a:xfrm>
            <a:off x="0" y="0"/>
            <a:ext cx="36703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indent="-285750" algn="l">
              <a:lnSpc>
                <a:spcPct val="107000"/>
              </a:lnSpc>
              <a:spcBef>
                <a:spcPts val="0"/>
              </a:spcBef>
              <a:spcAft>
                <a:spcPts val="800"/>
              </a:spcAft>
              <a:buFont typeface="Arial" panose="020B0604020202020204" pitchFamily="34" charset="0"/>
              <a:buChar char="•"/>
            </a:pPr>
            <a:endParaRPr lang="en-US" sz="180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
        <p:nvSpPr>
          <p:cNvPr id="2" name="Title 1">
            <a:extLst>
              <a:ext uri="{FF2B5EF4-FFF2-40B4-BE49-F238E27FC236}">
                <a16:creationId xmlns:a16="http://schemas.microsoft.com/office/drawing/2014/main" id="{700F7508-C740-42AB-B200-EB54F3078A5F}"/>
              </a:ext>
            </a:extLst>
          </p:cNvPr>
          <p:cNvSpPr>
            <a:spLocks noGrp="1"/>
          </p:cNvSpPr>
          <p:nvPr>
            <p:ph type="title" hasCustomPrompt="1"/>
          </p:nvPr>
        </p:nvSpPr>
        <p:spPr>
          <a:xfrm>
            <a:off x="426425" y="2222501"/>
            <a:ext cx="3057004" cy="2111906"/>
          </a:xfrm>
        </p:spPr>
        <p:txBody>
          <a:bodyPr anchor="ctr"/>
          <a:lstStyle>
            <a:lvl1pPr algn="l">
              <a:defRPr sz="4400">
                <a:solidFill>
                  <a:schemeClr val="bg1"/>
                </a:solidFill>
              </a:defRPr>
            </a:lvl1pPr>
          </a:lstStyle>
          <a:p>
            <a:r>
              <a:rPr lang="en-US"/>
              <a:t>Insert title here</a:t>
            </a:r>
          </a:p>
        </p:txBody>
      </p:sp>
      <p:sp>
        <p:nvSpPr>
          <p:cNvPr id="7" name="Text Placeholder 6">
            <a:extLst>
              <a:ext uri="{FF2B5EF4-FFF2-40B4-BE49-F238E27FC236}">
                <a16:creationId xmlns:a16="http://schemas.microsoft.com/office/drawing/2014/main" id="{A291635B-AE87-4B27-8EE2-15FF72DE8D14}"/>
              </a:ext>
            </a:extLst>
          </p:cNvPr>
          <p:cNvSpPr>
            <a:spLocks noGrp="1"/>
          </p:cNvSpPr>
          <p:nvPr>
            <p:ph type="body" sz="quarter" idx="10"/>
          </p:nvPr>
        </p:nvSpPr>
        <p:spPr>
          <a:xfrm>
            <a:off x="3949700" y="444500"/>
            <a:ext cx="7823200" cy="6107113"/>
          </a:xfrm>
        </p:spPr>
        <p:txBody>
          <a:bodyPr anchor="ctr"/>
          <a:lstStyle>
            <a:lvl1pPr>
              <a:defRPr sz="1800"/>
            </a:lvl1pPr>
            <a:lvl2pPr>
              <a:defRPr sz="14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69832342"/>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Conclusion w/ 4 column content">
    <p:bg>
      <p:bgPr>
        <a:solidFill>
          <a:schemeClr val="bg1">
            <a:lumMod val="95000"/>
          </a:schemeClr>
        </a:solidFill>
        <a:effectLst/>
      </p:bgPr>
    </p:bg>
    <p:spTree>
      <p:nvGrpSpPr>
        <p:cNvPr id="1" name=""/>
        <p:cNvGrpSpPr/>
        <p:nvPr/>
      </p:nvGrpSpPr>
      <p:grpSpPr>
        <a:xfrm>
          <a:off x="0" y="0"/>
          <a:ext cx="0" cy="0"/>
          <a:chOff x="0" y="0"/>
          <a:chExt cx="0" cy="0"/>
        </a:xfrm>
      </p:grpSpPr>
      <p:sp>
        <p:nvSpPr>
          <p:cNvPr id="34" name="Picture Placeholder 33">
            <a:extLst>
              <a:ext uri="{FF2B5EF4-FFF2-40B4-BE49-F238E27FC236}">
                <a16:creationId xmlns:a16="http://schemas.microsoft.com/office/drawing/2014/main" id="{841C4006-C73A-4B94-B185-B32A9E2A1703}"/>
              </a:ext>
            </a:extLst>
          </p:cNvPr>
          <p:cNvSpPr>
            <a:spLocks noGrp="1"/>
          </p:cNvSpPr>
          <p:nvPr>
            <p:ph type="pic" sz="quarter" idx="22" hasCustomPrompt="1"/>
          </p:nvPr>
        </p:nvSpPr>
        <p:spPr>
          <a:xfrm>
            <a:off x="0" y="0"/>
            <a:ext cx="12192000" cy="1951348"/>
          </a:xfrm>
        </p:spPr>
        <p:txBody>
          <a:bodyPr anchor="ctr"/>
          <a:lstStyle>
            <a:lvl1pPr algn="ctr">
              <a:defRPr/>
            </a:lvl1pPr>
          </a:lstStyle>
          <a:p>
            <a:r>
              <a:rPr lang="en-US"/>
              <a:t>Insert Image here</a:t>
            </a:r>
          </a:p>
        </p:txBody>
      </p:sp>
      <p:sp>
        <p:nvSpPr>
          <p:cNvPr id="4" name="Rectangle 3">
            <a:extLst>
              <a:ext uri="{FF2B5EF4-FFF2-40B4-BE49-F238E27FC236}">
                <a16:creationId xmlns:a16="http://schemas.microsoft.com/office/drawing/2014/main" id="{289A6215-ADAF-4F3A-B98D-BA4371B8E84F}"/>
              </a:ext>
            </a:extLst>
          </p:cNvPr>
          <p:cNvSpPr/>
          <p:nvPr/>
        </p:nvSpPr>
        <p:spPr bwMode="auto">
          <a:xfrm>
            <a:off x="0" y="1951348"/>
            <a:ext cx="12192000" cy="127791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indent="-285750" algn="l">
              <a:lnSpc>
                <a:spcPct val="107000"/>
              </a:lnSpc>
              <a:spcBef>
                <a:spcPts val="0"/>
              </a:spcBef>
              <a:spcAft>
                <a:spcPts val="800"/>
              </a:spcAft>
              <a:buFont typeface="Arial" panose="020B0604020202020204" pitchFamily="34" charset="0"/>
              <a:buChar char="•"/>
            </a:pPr>
            <a:endParaRPr lang="en-US" sz="180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
        <p:nvSpPr>
          <p:cNvPr id="2" name="Title 1">
            <a:extLst>
              <a:ext uri="{FF2B5EF4-FFF2-40B4-BE49-F238E27FC236}">
                <a16:creationId xmlns:a16="http://schemas.microsoft.com/office/drawing/2014/main" id="{700F7508-C740-42AB-B200-EB54F3078A5F}"/>
              </a:ext>
            </a:extLst>
          </p:cNvPr>
          <p:cNvSpPr>
            <a:spLocks noGrp="1"/>
          </p:cNvSpPr>
          <p:nvPr>
            <p:ph type="title" hasCustomPrompt="1"/>
          </p:nvPr>
        </p:nvSpPr>
        <p:spPr>
          <a:xfrm>
            <a:off x="426424" y="2159676"/>
            <a:ext cx="11336039" cy="534096"/>
          </a:xfrm>
        </p:spPr>
        <p:txBody>
          <a:bodyPr anchor="ctr"/>
          <a:lstStyle>
            <a:lvl1pPr algn="ctr">
              <a:defRPr sz="3200">
                <a:solidFill>
                  <a:schemeClr val="bg1"/>
                </a:solidFill>
              </a:defRPr>
            </a:lvl1pPr>
          </a:lstStyle>
          <a:p>
            <a:r>
              <a:rPr lang="en-US"/>
              <a:t>Insert title here</a:t>
            </a:r>
          </a:p>
        </p:txBody>
      </p:sp>
      <p:sp>
        <p:nvSpPr>
          <p:cNvPr id="9" name="Text Placeholder 8">
            <a:extLst>
              <a:ext uri="{FF2B5EF4-FFF2-40B4-BE49-F238E27FC236}">
                <a16:creationId xmlns:a16="http://schemas.microsoft.com/office/drawing/2014/main" id="{9E2A83DE-62C8-4549-BA78-2ED78CB824F2}"/>
              </a:ext>
            </a:extLst>
          </p:cNvPr>
          <p:cNvSpPr>
            <a:spLocks noGrp="1"/>
          </p:cNvSpPr>
          <p:nvPr>
            <p:ph type="body" sz="quarter" idx="10" hasCustomPrompt="1"/>
          </p:nvPr>
        </p:nvSpPr>
        <p:spPr>
          <a:xfrm>
            <a:off x="468619" y="3694794"/>
            <a:ext cx="2604836" cy="390844"/>
          </a:xfrm>
        </p:spPr>
        <p:txBody>
          <a:bodyPr anchor="ctr"/>
          <a:lstStyle>
            <a:lvl1pPr algn="ctr">
              <a:defRPr sz="1800">
                <a:solidFill>
                  <a:schemeClr val="accent2"/>
                </a:solidFill>
                <a:latin typeface="+mj-lt"/>
              </a:defRPr>
            </a:lvl1pPr>
            <a:lvl2pPr algn="ctr">
              <a:defRPr sz="1200"/>
            </a:lvl2pPr>
            <a:lvl3pPr algn="ctr">
              <a:defRPr sz="1050"/>
            </a:lvl3pPr>
            <a:lvl4pPr algn="ctr">
              <a:defRPr sz="1050"/>
            </a:lvl4pPr>
            <a:lvl5pPr algn="ctr">
              <a:defRPr sz="1050"/>
            </a:lvl5pPr>
          </a:lstStyle>
          <a:p>
            <a:pPr lvl="0"/>
            <a:r>
              <a:rPr lang="en-US"/>
              <a:t>Heading</a:t>
            </a:r>
          </a:p>
        </p:txBody>
      </p:sp>
      <p:sp>
        <p:nvSpPr>
          <p:cNvPr id="10" name="Text Placeholder 8">
            <a:extLst>
              <a:ext uri="{FF2B5EF4-FFF2-40B4-BE49-F238E27FC236}">
                <a16:creationId xmlns:a16="http://schemas.microsoft.com/office/drawing/2014/main" id="{87F5356C-59EC-4714-90F1-F22D0BD2E8D7}"/>
              </a:ext>
            </a:extLst>
          </p:cNvPr>
          <p:cNvSpPr>
            <a:spLocks noGrp="1"/>
          </p:cNvSpPr>
          <p:nvPr>
            <p:ph type="body" sz="quarter" idx="11" hasCustomPrompt="1"/>
          </p:nvPr>
        </p:nvSpPr>
        <p:spPr>
          <a:xfrm>
            <a:off x="3350890" y="3694794"/>
            <a:ext cx="2604836" cy="390844"/>
          </a:xfrm>
        </p:spPr>
        <p:txBody>
          <a:bodyPr anchor="ctr"/>
          <a:lstStyle>
            <a:lvl1pPr algn="ctr">
              <a:defRPr sz="1800">
                <a:solidFill>
                  <a:schemeClr val="accent2"/>
                </a:solidFill>
                <a:latin typeface="+mj-lt"/>
              </a:defRPr>
            </a:lvl1pPr>
            <a:lvl2pPr algn="ctr">
              <a:defRPr sz="1200"/>
            </a:lvl2pPr>
            <a:lvl3pPr algn="ctr">
              <a:defRPr sz="1050"/>
            </a:lvl3pPr>
            <a:lvl4pPr algn="ctr">
              <a:defRPr sz="1050"/>
            </a:lvl4pPr>
            <a:lvl5pPr algn="ctr">
              <a:defRPr sz="1050"/>
            </a:lvl5pPr>
          </a:lstStyle>
          <a:p>
            <a:pPr lvl="0"/>
            <a:r>
              <a:rPr lang="en-US"/>
              <a:t>Heading</a:t>
            </a:r>
          </a:p>
        </p:txBody>
      </p:sp>
      <p:sp>
        <p:nvSpPr>
          <p:cNvPr id="11" name="Text Placeholder 8">
            <a:extLst>
              <a:ext uri="{FF2B5EF4-FFF2-40B4-BE49-F238E27FC236}">
                <a16:creationId xmlns:a16="http://schemas.microsoft.com/office/drawing/2014/main" id="{10A5F6D5-6E62-49FB-AC92-4C365419E34A}"/>
              </a:ext>
            </a:extLst>
          </p:cNvPr>
          <p:cNvSpPr>
            <a:spLocks noGrp="1"/>
          </p:cNvSpPr>
          <p:nvPr>
            <p:ph type="body" sz="quarter" idx="12" hasCustomPrompt="1"/>
          </p:nvPr>
        </p:nvSpPr>
        <p:spPr>
          <a:xfrm>
            <a:off x="6233161" y="3694794"/>
            <a:ext cx="2604836" cy="390844"/>
          </a:xfrm>
        </p:spPr>
        <p:txBody>
          <a:bodyPr anchor="ctr"/>
          <a:lstStyle>
            <a:lvl1pPr algn="ctr">
              <a:defRPr sz="1800">
                <a:solidFill>
                  <a:schemeClr val="accent2"/>
                </a:solidFill>
                <a:latin typeface="+mj-lt"/>
              </a:defRPr>
            </a:lvl1pPr>
            <a:lvl2pPr algn="ctr">
              <a:defRPr sz="1200"/>
            </a:lvl2pPr>
            <a:lvl3pPr algn="ctr">
              <a:defRPr sz="1050"/>
            </a:lvl3pPr>
            <a:lvl4pPr algn="ctr">
              <a:defRPr sz="1050"/>
            </a:lvl4pPr>
            <a:lvl5pPr algn="ctr">
              <a:defRPr sz="1050"/>
            </a:lvl5pPr>
          </a:lstStyle>
          <a:p>
            <a:pPr lvl="0"/>
            <a:r>
              <a:rPr lang="en-US"/>
              <a:t>Heading</a:t>
            </a:r>
          </a:p>
        </p:txBody>
      </p:sp>
      <p:sp>
        <p:nvSpPr>
          <p:cNvPr id="12" name="Text Placeholder 8">
            <a:extLst>
              <a:ext uri="{FF2B5EF4-FFF2-40B4-BE49-F238E27FC236}">
                <a16:creationId xmlns:a16="http://schemas.microsoft.com/office/drawing/2014/main" id="{FB78557D-977D-418C-8A77-50A23A50314C}"/>
              </a:ext>
            </a:extLst>
          </p:cNvPr>
          <p:cNvSpPr>
            <a:spLocks noGrp="1"/>
          </p:cNvSpPr>
          <p:nvPr>
            <p:ph type="body" sz="quarter" idx="13" hasCustomPrompt="1"/>
          </p:nvPr>
        </p:nvSpPr>
        <p:spPr>
          <a:xfrm>
            <a:off x="9115433" y="3694794"/>
            <a:ext cx="2604836" cy="390844"/>
          </a:xfrm>
        </p:spPr>
        <p:txBody>
          <a:bodyPr anchor="ctr"/>
          <a:lstStyle>
            <a:lvl1pPr algn="ctr">
              <a:defRPr sz="1800">
                <a:solidFill>
                  <a:schemeClr val="accent2"/>
                </a:solidFill>
                <a:latin typeface="+mj-lt"/>
              </a:defRPr>
            </a:lvl1pPr>
            <a:lvl2pPr algn="ctr">
              <a:defRPr sz="1200"/>
            </a:lvl2pPr>
            <a:lvl3pPr algn="ctr">
              <a:defRPr sz="1050"/>
            </a:lvl3pPr>
            <a:lvl4pPr algn="ctr">
              <a:defRPr sz="1050"/>
            </a:lvl4pPr>
            <a:lvl5pPr algn="ctr">
              <a:defRPr sz="1050"/>
            </a:lvl5pPr>
          </a:lstStyle>
          <a:p>
            <a:pPr lvl="0"/>
            <a:r>
              <a:rPr lang="en-US"/>
              <a:t>Heading</a:t>
            </a:r>
          </a:p>
        </p:txBody>
      </p:sp>
      <p:sp>
        <p:nvSpPr>
          <p:cNvPr id="18" name="Text Placeholder 8">
            <a:extLst>
              <a:ext uri="{FF2B5EF4-FFF2-40B4-BE49-F238E27FC236}">
                <a16:creationId xmlns:a16="http://schemas.microsoft.com/office/drawing/2014/main" id="{F9C9638A-02F6-4F7B-ADD6-F86C75FF5612}"/>
              </a:ext>
            </a:extLst>
          </p:cNvPr>
          <p:cNvSpPr>
            <a:spLocks noGrp="1"/>
          </p:cNvSpPr>
          <p:nvPr>
            <p:ph type="body" sz="quarter" idx="18" hasCustomPrompt="1"/>
          </p:nvPr>
        </p:nvSpPr>
        <p:spPr>
          <a:xfrm>
            <a:off x="468619" y="4117756"/>
            <a:ext cx="2604836" cy="2343149"/>
          </a:xfrm>
        </p:spPr>
        <p:txBody>
          <a:bodyPr/>
          <a:lstStyle>
            <a:lvl1pPr algn="ctr">
              <a:defRPr sz="1400"/>
            </a:lvl1pPr>
            <a:lvl2pPr algn="ctr">
              <a:defRPr sz="1200"/>
            </a:lvl2pPr>
            <a:lvl3pPr algn="ctr">
              <a:defRPr sz="1050"/>
            </a:lvl3pPr>
            <a:lvl4pPr algn="ctr">
              <a:defRPr sz="1050"/>
            </a:lvl4pPr>
            <a:lvl5pPr algn="ctr">
              <a:defRPr sz="1050"/>
            </a:lvl5pPr>
          </a:lstStyle>
          <a:p>
            <a:pPr lvl="0"/>
            <a:r>
              <a:rPr lang="en-US"/>
              <a:t>Insert text</a:t>
            </a:r>
          </a:p>
        </p:txBody>
      </p:sp>
      <p:sp>
        <p:nvSpPr>
          <p:cNvPr id="19" name="Text Placeholder 8">
            <a:extLst>
              <a:ext uri="{FF2B5EF4-FFF2-40B4-BE49-F238E27FC236}">
                <a16:creationId xmlns:a16="http://schemas.microsoft.com/office/drawing/2014/main" id="{6854C7F8-2220-443F-BB73-2F30A0280DD3}"/>
              </a:ext>
            </a:extLst>
          </p:cNvPr>
          <p:cNvSpPr>
            <a:spLocks noGrp="1"/>
          </p:cNvSpPr>
          <p:nvPr>
            <p:ph type="body" sz="quarter" idx="19" hasCustomPrompt="1"/>
          </p:nvPr>
        </p:nvSpPr>
        <p:spPr>
          <a:xfrm>
            <a:off x="3350891" y="4117756"/>
            <a:ext cx="2604836" cy="2343149"/>
          </a:xfrm>
        </p:spPr>
        <p:txBody>
          <a:bodyPr/>
          <a:lstStyle>
            <a:lvl1pPr algn="ctr">
              <a:defRPr sz="1400"/>
            </a:lvl1pPr>
            <a:lvl2pPr algn="ctr">
              <a:defRPr sz="1200"/>
            </a:lvl2pPr>
            <a:lvl3pPr algn="ctr">
              <a:defRPr sz="1050"/>
            </a:lvl3pPr>
            <a:lvl4pPr algn="ctr">
              <a:defRPr sz="1050"/>
            </a:lvl4pPr>
            <a:lvl5pPr algn="ctr">
              <a:defRPr sz="1050"/>
            </a:lvl5pPr>
          </a:lstStyle>
          <a:p>
            <a:pPr lvl="0"/>
            <a:r>
              <a:rPr lang="en-US"/>
              <a:t>Insert text</a:t>
            </a:r>
          </a:p>
        </p:txBody>
      </p:sp>
      <p:sp>
        <p:nvSpPr>
          <p:cNvPr id="20" name="Text Placeholder 8">
            <a:extLst>
              <a:ext uri="{FF2B5EF4-FFF2-40B4-BE49-F238E27FC236}">
                <a16:creationId xmlns:a16="http://schemas.microsoft.com/office/drawing/2014/main" id="{E3B69977-42E7-4EF1-89E0-9697D5801CFE}"/>
              </a:ext>
            </a:extLst>
          </p:cNvPr>
          <p:cNvSpPr>
            <a:spLocks noGrp="1"/>
          </p:cNvSpPr>
          <p:nvPr>
            <p:ph type="body" sz="quarter" idx="20" hasCustomPrompt="1"/>
          </p:nvPr>
        </p:nvSpPr>
        <p:spPr>
          <a:xfrm>
            <a:off x="6233163" y="4117756"/>
            <a:ext cx="2604836" cy="2343149"/>
          </a:xfrm>
        </p:spPr>
        <p:txBody>
          <a:bodyPr/>
          <a:lstStyle>
            <a:lvl1pPr algn="ctr">
              <a:defRPr sz="1400"/>
            </a:lvl1pPr>
            <a:lvl2pPr algn="ctr">
              <a:defRPr sz="1200"/>
            </a:lvl2pPr>
            <a:lvl3pPr algn="ctr">
              <a:defRPr sz="1050"/>
            </a:lvl3pPr>
            <a:lvl4pPr algn="ctr">
              <a:defRPr sz="1050"/>
            </a:lvl4pPr>
            <a:lvl5pPr algn="ctr">
              <a:defRPr sz="1050"/>
            </a:lvl5pPr>
          </a:lstStyle>
          <a:p>
            <a:pPr lvl="0"/>
            <a:r>
              <a:rPr lang="en-US"/>
              <a:t>Insert text</a:t>
            </a:r>
          </a:p>
        </p:txBody>
      </p:sp>
      <p:sp>
        <p:nvSpPr>
          <p:cNvPr id="21" name="Text Placeholder 8">
            <a:extLst>
              <a:ext uri="{FF2B5EF4-FFF2-40B4-BE49-F238E27FC236}">
                <a16:creationId xmlns:a16="http://schemas.microsoft.com/office/drawing/2014/main" id="{D1E10885-25C2-46F2-97F7-20E12EF816DD}"/>
              </a:ext>
            </a:extLst>
          </p:cNvPr>
          <p:cNvSpPr>
            <a:spLocks noGrp="1"/>
          </p:cNvSpPr>
          <p:nvPr>
            <p:ph type="body" sz="quarter" idx="21" hasCustomPrompt="1"/>
          </p:nvPr>
        </p:nvSpPr>
        <p:spPr>
          <a:xfrm>
            <a:off x="9115433" y="4117756"/>
            <a:ext cx="2604836" cy="2343149"/>
          </a:xfrm>
        </p:spPr>
        <p:txBody>
          <a:bodyPr/>
          <a:lstStyle>
            <a:lvl1pPr algn="ctr">
              <a:defRPr sz="1400"/>
            </a:lvl1pPr>
            <a:lvl2pPr algn="ctr">
              <a:defRPr sz="1200"/>
            </a:lvl2pPr>
            <a:lvl3pPr algn="ctr">
              <a:defRPr sz="1050"/>
            </a:lvl3pPr>
            <a:lvl4pPr algn="ctr">
              <a:defRPr sz="1050"/>
            </a:lvl4pPr>
            <a:lvl5pPr algn="ctr">
              <a:defRPr sz="1050"/>
            </a:lvl5pPr>
          </a:lstStyle>
          <a:p>
            <a:pPr lvl="0"/>
            <a:r>
              <a:rPr lang="en-US"/>
              <a:t>Insert text</a:t>
            </a:r>
          </a:p>
        </p:txBody>
      </p:sp>
      <p:cxnSp>
        <p:nvCxnSpPr>
          <p:cNvPr id="23" name="Straight Connector 22">
            <a:extLst>
              <a:ext uri="{FF2B5EF4-FFF2-40B4-BE49-F238E27FC236}">
                <a16:creationId xmlns:a16="http://schemas.microsoft.com/office/drawing/2014/main" id="{CBC77B46-9371-4C84-9F7B-2047A7D5F23B}"/>
              </a:ext>
            </a:extLst>
          </p:cNvPr>
          <p:cNvCxnSpPr>
            <a:cxnSpLocks/>
          </p:cNvCxnSpPr>
          <p:nvPr/>
        </p:nvCxnSpPr>
        <p:spPr>
          <a:xfrm>
            <a:off x="3212173" y="3565895"/>
            <a:ext cx="0" cy="2923290"/>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E9B4BB8A-B1DB-4DFD-9AA9-216F4BC22301}"/>
              </a:ext>
            </a:extLst>
          </p:cNvPr>
          <p:cNvCxnSpPr>
            <a:cxnSpLocks/>
          </p:cNvCxnSpPr>
          <p:nvPr/>
        </p:nvCxnSpPr>
        <p:spPr>
          <a:xfrm>
            <a:off x="6094445" y="3565895"/>
            <a:ext cx="0" cy="2923290"/>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7D7B458F-A205-4C9D-AF10-EEF947AE5D6A}"/>
              </a:ext>
            </a:extLst>
          </p:cNvPr>
          <p:cNvCxnSpPr>
            <a:cxnSpLocks/>
          </p:cNvCxnSpPr>
          <p:nvPr/>
        </p:nvCxnSpPr>
        <p:spPr>
          <a:xfrm>
            <a:off x="8976717" y="3565895"/>
            <a:ext cx="0" cy="2923290"/>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8" name="Text Placeholder 13">
            <a:extLst>
              <a:ext uri="{FF2B5EF4-FFF2-40B4-BE49-F238E27FC236}">
                <a16:creationId xmlns:a16="http://schemas.microsoft.com/office/drawing/2014/main" id="{FC30DDC2-FBAD-4025-A0AA-B7D910C2073C}"/>
              </a:ext>
            </a:extLst>
          </p:cNvPr>
          <p:cNvSpPr>
            <a:spLocks noGrp="1"/>
          </p:cNvSpPr>
          <p:nvPr>
            <p:ph type="body" sz="quarter" idx="14" hasCustomPrompt="1"/>
          </p:nvPr>
        </p:nvSpPr>
        <p:spPr>
          <a:xfrm>
            <a:off x="1376344" y="2834565"/>
            <a:ext cx="789386" cy="789386"/>
          </a:xfrm>
          <a:prstGeom prst="ellipse">
            <a:avLst/>
          </a:prstGeom>
          <a:solidFill>
            <a:schemeClr val="accent2"/>
          </a:solidFill>
          <a:ln w="76200">
            <a:solidFill>
              <a:schemeClr val="bg1">
                <a:lumMod val="95000"/>
              </a:schemeClr>
            </a:solidFill>
          </a:ln>
        </p:spPr>
        <p:txBody>
          <a:bodyPr vert="horz" wrap="square" lIns="0" tIns="0" rIns="0" bIns="0" rtlCol="0" anchor="ctr">
            <a:noAutofit/>
          </a:bodyPr>
          <a:lstStyle>
            <a:lvl1pPr algn="ctr">
              <a:defRPr lang="en-US" sz="3200" b="1" dirty="0">
                <a:solidFill>
                  <a:schemeClr val="bg1"/>
                </a:solidFill>
              </a:defRPr>
            </a:lvl1pPr>
          </a:lstStyle>
          <a:p>
            <a:pPr lvl="0" algn="ctr"/>
            <a:r>
              <a:rPr lang="en-US"/>
              <a:t>1</a:t>
            </a:r>
          </a:p>
        </p:txBody>
      </p:sp>
      <p:sp>
        <p:nvSpPr>
          <p:cNvPr id="29" name="Text Placeholder 13">
            <a:extLst>
              <a:ext uri="{FF2B5EF4-FFF2-40B4-BE49-F238E27FC236}">
                <a16:creationId xmlns:a16="http://schemas.microsoft.com/office/drawing/2014/main" id="{A4D90C49-D9A3-4CB7-95D4-3343F85285DB}"/>
              </a:ext>
            </a:extLst>
          </p:cNvPr>
          <p:cNvSpPr>
            <a:spLocks noGrp="1"/>
          </p:cNvSpPr>
          <p:nvPr>
            <p:ph type="body" sz="quarter" idx="15" hasCustomPrompt="1"/>
          </p:nvPr>
        </p:nvSpPr>
        <p:spPr>
          <a:xfrm>
            <a:off x="4258615" y="2834565"/>
            <a:ext cx="789386" cy="789386"/>
          </a:xfrm>
          <a:prstGeom prst="ellipse">
            <a:avLst/>
          </a:prstGeom>
          <a:solidFill>
            <a:schemeClr val="accent2"/>
          </a:solidFill>
          <a:ln w="76200">
            <a:solidFill>
              <a:schemeClr val="bg1">
                <a:lumMod val="95000"/>
              </a:schemeClr>
            </a:solidFill>
          </a:ln>
        </p:spPr>
        <p:txBody>
          <a:bodyPr vert="horz" wrap="square" lIns="0" tIns="0" rIns="0" bIns="0" rtlCol="0" anchor="ctr">
            <a:noAutofit/>
          </a:bodyPr>
          <a:lstStyle>
            <a:lvl1pPr algn="ctr">
              <a:defRPr lang="en-US" sz="3200" b="1" dirty="0">
                <a:solidFill>
                  <a:schemeClr val="bg1"/>
                </a:solidFill>
              </a:defRPr>
            </a:lvl1pPr>
          </a:lstStyle>
          <a:p>
            <a:pPr lvl="0" algn="ctr"/>
            <a:r>
              <a:rPr lang="en-US"/>
              <a:t>2</a:t>
            </a:r>
          </a:p>
        </p:txBody>
      </p:sp>
      <p:sp>
        <p:nvSpPr>
          <p:cNvPr id="30" name="Text Placeholder 13">
            <a:extLst>
              <a:ext uri="{FF2B5EF4-FFF2-40B4-BE49-F238E27FC236}">
                <a16:creationId xmlns:a16="http://schemas.microsoft.com/office/drawing/2014/main" id="{E667ACEF-B39B-4156-8E6C-57B0B8459FDF}"/>
              </a:ext>
            </a:extLst>
          </p:cNvPr>
          <p:cNvSpPr>
            <a:spLocks noGrp="1"/>
          </p:cNvSpPr>
          <p:nvPr>
            <p:ph type="body" sz="quarter" idx="16" hasCustomPrompt="1"/>
          </p:nvPr>
        </p:nvSpPr>
        <p:spPr>
          <a:xfrm>
            <a:off x="7140886" y="2834565"/>
            <a:ext cx="789386" cy="789386"/>
          </a:xfrm>
          <a:prstGeom prst="ellipse">
            <a:avLst/>
          </a:prstGeom>
          <a:solidFill>
            <a:schemeClr val="accent2"/>
          </a:solidFill>
          <a:ln w="76200">
            <a:solidFill>
              <a:schemeClr val="bg1">
                <a:lumMod val="95000"/>
              </a:schemeClr>
            </a:solidFill>
          </a:ln>
        </p:spPr>
        <p:txBody>
          <a:bodyPr vert="horz" wrap="square" lIns="0" tIns="0" rIns="0" bIns="0" rtlCol="0" anchor="ctr">
            <a:noAutofit/>
          </a:bodyPr>
          <a:lstStyle>
            <a:lvl1pPr algn="ctr">
              <a:defRPr lang="en-US" sz="3200" b="1" dirty="0">
                <a:solidFill>
                  <a:schemeClr val="bg1"/>
                </a:solidFill>
              </a:defRPr>
            </a:lvl1pPr>
          </a:lstStyle>
          <a:p>
            <a:pPr lvl="0" algn="ctr"/>
            <a:r>
              <a:rPr lang="en-US"/>
              <a:t>3</a:t>
            </a:r>
          </a:p>
        </p:txBody>
      </p:sp>
      <p:sp>
        <p:nvSpPr>
          <p:cNvPr id="31" name="Text Placeholder 13">
            <a:extLst>
              <a:ext uri="{FF2B5EF4-FFF2-40B4-BE49-F238E27FC236}">
                <a16:creationId xmlns:a16="http://schemas.microsoft.com/office/drawing/2014/main" id="{B118890E-9593-465A-BAFE-176FB1D90E41}"/>
              </a:ext>
            </a:extLst>
          </p:cNvPr>
          <p:cNvSpPr>
            <a:spLocks noGrp="1"/>
          </p:cNvSpPr>
          <p:nvPr>
            <p:ph type="body" sz="quarter" idx="17" hasCustomPrompt="1"/>
          </p:nvPr>
        </p:nvSpPr>
        <p:spPr>
          <a:xfrm>
            <a:off x="10023158" y="2834565"/>
            <a:ext cx="789386" cy="789386"/>
          </a:xfrm>
          <a:prstGeom prst="ellipse">
            <a:avLst/>
          </a:prstGeom>
          <a:solidFill>
            <a:schemeClr val="accent2"/>
          </a:solidFill>
          <a:ln w="76200">
            <a:solidFill>
              <a:schemeClr val="bg1">
                <a:lumMod val="95000"/>
              </a:schemeClr>
            </a:solidFill>
          </a:ln>
        </p:spPr>
        <p:txBody>
          <a:bodyPr vert="horz" wrap="square" lIns="0" tIns="0" rIns="0" bIns="0" rtlCol="0" anchor="ctr">
            <a:noAutofit/>
          </a:bodyPr>
          <a:lstStyle>
            <a:lvl1pPr algn="ctr">
              <a:defRPr lang="en-US" sz="3200" b="1" dirty="0">
                <a:solidFill>
                  <a:schemeClr val="bg1"/>
                </a:solidFill>
              </a:defRPr>
            </a:lvl1pPr>
          </a:lstStyle>
          <a:p>
            <a:pPr lvl="0" algn="ctr"/>
            <a:r>
              <a:rPr lang="en-US"/>
              <a:t>4</a:t>
            </a:r>
          </a:p>
        </p:txBody>
      </p:sp>
    </p:spTree>
    <p:extLst>
      <p:ext uri="{BB962C8B-B14F-4D97-AF65-F5344CB8AC3E}">
        <p14:creationId xmlns:p14="http://schemas.microsoft.com/office/powerpoint/2010/main" val="3540072389"/>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3 points content w/ table">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0F7508-C740-42AB-B200-EB54F3078A5F}"/>
              </a:ext>
            </a:extLst>
          </p:cNvPr>
          <p:cNvSpPr>
            <a:spLocks noGrp="1"/>
          </p:cNvSpPr>
          <p:nvPr>
            <p:ph type="title"/>
          </p:nvPr>
        </p:nvSpPr>
        <p:spPr>
          <a:xfrm>
            <a:off x="426424" y="435824"/>
            <a:ext cx="11346476" cy="744014"/>
          </a:xfrm>
        </p:spPr>
        <p:txBody>
          <a:bodyPr/>
          <a:lstStyle>
            <a:lvl1pPr>
              <a:defRPr/>
            </a:lvl1pPr>
          </a:lstStyle>
          <a:p>
            <a:r>
              <a:rPr lang="en-US"/>
              <a:t>Click to edit Master title style</a:t>
            </a:r>
          </a:p>
        </p:txBody>
      </p:sp>
      <p:sp>
        <p:nvSpPr>
          <p:cNvPr id="8" name="Rectangle 7">
            <a:extLst>
              <a:ext uri="{FF2B5EF4-FFF2-40B4-BE49-F238E27FC236}">
                <a16:creationId xmlns:a16="http://schemas.microsoft.com/office/drawing/2014/main" id="{297C7971-09FC-4A7C-9657-21D91173B55B}"/>
              </a:ext>
            </a:extLst>
          </p:cNvPr>
          <p:cNvSpPr/>
          <p:nvPr/>
        </p:nvSpPr>
        <p:spPr bwMode="auto">
          <a:xfrm>
            <a:off x="0" y="0"/>
            <a:ext cx="12192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indent="-285750" algn="l">
              <a:lnSpc>
                <a:spcPct val="107000"/>
              </a:lnSpc>
              <a:spcBef>
                <a:spcPts val="0"/>
              </a:spcBef>
              <a:spcAft>
                <a:spcPts val="800"/>
              </a:spcAft>
              <a:buFont typeface="Arial" panose="020B0604020202020204" pitchFamily="34" charset="0"/>
              <a:buChar char="•"/>
            </a:pPr>
            <a:endParaRPr lang="en-US" sz="180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
        <p:nvSpPr>
          <p:cNvPr id="21" name="Title 11">
            <a:extLst>
              <a:ext uri="{FF2B5EF4-FFF2-40B4-BE49-F238E27FC236}">
                <a16:creationId xmlns:a16="http://schemas.microsoft.com/office/drawing/2014/main" id="{C2A33143-8275-46A9-A11A-FA4215461DE3}"/>
              </a:ext>
            </a:extLst>
          </p:cNvPr>
          <p:cNvSpPr txBox="1">
            <a:spLocks/>
          </p:cNvSpPr>
          <p:nvPr/>
        </p:nvSpPr>
        <p:spPr>
          <a:xfrm>
            <a:off x="0" y="1453106"/>
            <a:ext cx="12192000" cy="2117687"/>
          </a:xfrm>
          <a:prstGeom prst="rect">
            <a:avLst/>
          </a:prstGeom>
          <a:solidFill>
            <a:schemeClr val="bg1">
              <a:lumMod val="85000"/>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marL="285750" marR="0" indent="-285750">
              <a:lnSpc>
                <a:spcPct val="107000"/>
              </a:lnSpc>
              <a:spcBef>
                <a:spcPts val="0"/>
              </a:spcBef>
              <a:spcAft>
                <a:spcPts val="800"/>
              </a:spcAft>
              <a:buFont typeface="Arial" panose="020B0604020202020204" pitchFamily="34" charset="0"/>
              <a:buChar char="•"/>
              <a:defRPr b="1">
                <a:solidFill>
                  <a:schemeClr val="bg1">
                    <a:lumMod val="85000"/>
                  </a:schemeClr>
                </a:solidFill>
                <a:effectLst/>
                <a:latin typeface="Segoe UI" panose="020B0502040204020203" pitchFamily="34" charset="0"/>
                <a:ea typeface="Times New Roman" panose="02020603050405020304" pitchFamily="18" charset="0"/>
                <a:cs typeface="Times New Roman" panose="02020603050405020304" pitchFamily="18"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endParaRPr lang="en-US"/>
          </a:p>
        </p:txBody>
      </p:sp>
      <p:sp>
        <p:nvSpPr>
          <p:cNvPr id="25" name="Text Placeholder 3">
            <a:extLst>
              <a:ext uri="{FF2B5EF4-FFF2-40B4-BE49-F238E27FC236}">
                <a16:creationId xmlns:a16="http://schemas.microsoft.com/office/drawing/2014/main" id="{78AF258A-AF81-42F6-916F-6818A4460F2D}"/>
              </a:ext>
            </a:extLst>
          </p:cNvPr>
          <p:cNvSpPr>
            <a:spLocks noGrp="1"/>
          </p:cNvSpPr>
          <p:nvPr>
            <p:ph type="body" sz="quarter" idx="10" hasCustomPrompt="1"/>
          </p:nvPr>
        </p:nvSpPr>
        <p:spPr>
          <a:xfrm>
            <a:off x="420293" y="1682803"/>
            <a:ext cx="274320" cy="274320"/>
          </a:xfrm>
          <a:prstGeom prst="ellipse">
            <a:avLst/>
          </a:prstGeom>
          <a:solidFill>
            <a:schemeClr val="accent2"/>
          </a:solidFill>
        </p:spPr>
        <p:txBody>
          <a:bodyPr anchor="ctr"/>
          <a:lstStyle>
            <a:lvl1pPr algn="ctr">
              <a:defRPr sz="1400">
                <a:solidFill>
                  <a:schemeClr val="bg1"/>
                </a:solidFill>
                <a:latin typeface="+mj-lt"/>
              </a:defRPr>
            </a:lvl1pPr>
          </a:lstStyle>
          <a:p>
            <a:pPr lvl="0"/>
            <a:r>
              <a:rPr lang="en-US"/>
              <a:t>1</a:t>
            </a:r>
            <a:endParaRPr lang="en-IN"/>
          </a:p>
        </p:txBody>
      </p:sp>
      <p:sp>
        <p:nvSpPr>
          <p:cNvPr id="34" name="Text Placeholder 6">
            <a:extLst>
              <a:ext uri="{FF2B5EF4-FFF2-40B4-BE49-F238E27FC236}">
                <a16:creationId xmlns:a16="http://schemas.microsoft.com/office/drawing/2014/main" id="{8EAC80C6-B7F2-4D31-8A25-1FF621C1F90C}"/>
              </a:ext>
            </a:extLst>
          </p:cNvPr>
          <p:cNvSpPr>
            <a:spLocks noGrp="1"/>
          </p:cNvSpPr>
          <p:nvPr>
            <p:ph type="body" sz="quarter" idx="11" hasCustomPrompt="1"/>
          </p:nvPr>
        </p:nvSpPr>
        <p:spPr>
          <a:xfrm>
            <a:off x="814388" y="1565275"/>
            <a:ext cx="10947398" cy="509377"/>
          </a:xfrm>
        </p:spPr>
        <p:txBody>
          <a:bodyPr anchor="ctr"/>
          <a:lstStyle>
            <a:lvl1pPr>
              <a:defRPr sz="1400">
                <a:solidFill>
                  <a:schemeClr val="tx1"/>
                </a:solidFill>
                <a:latin typeface="+mn-lt"/>
              </a:defRPr>
            </a:lvl1pPr>
          </a:lstStyle>
          <a:p>
            <a:pPr lvl="0"/>
            <a:r>
              <a:rPr lang="en-US"/>
              <a:t>Enter text</a:t>
            </a:r>
            <a:endParaRPr lang="en-IN"/>
          </a:p>
        </p:txBody>
      </p:sp>
      <p:sp>
        <p:nvSpPr>
          <p:cNvPr id="35" name="Text Placeholder 3">
            <a:extLst>
              <a:ext uri="{FF2B5EF4-FFF2-40B4-BE49-F238E27FC236}">
                <a16:creationId xmlns:a16="http://schemas.microsoft.com/office/drawing/2014/main" id="{CD34743A-8303-4BB8-8E74-A0E55AD2C867}"/>
              </a:ext>
            </a:extLst>
          </p:cNvPr>
          <p:cNvSpPr>
            <a:spLocks noGrp="1"/>
          </p:cNvSpPr>
          <p:nvPr>
            <p:ph type="body" sz="quarter" idx="12" hasCustomPrompt="1"/>
          </p:nvPr>
        </p:nvSpPr>
        <p:spPr>
          <a:xfrm>
            <a:off x="420293" y="2387653"/>
            <a:ext cx="274320" cy="274320"/>
          </a:xfrm>
          <a:prstGeom prst="ellipse">
            <a:avLst/>
          </a:prstGeom>
          <a:solidFill>
            <a:schemeClr val="accent2"/>
          </a:solidFill>
        </p:spPr>
        <p:txBody>
          <a:bodyPr anchor="ctr"/>
          <a:lstStyle>
            <a:lvl1pPr algn="ctr">
              <a:defRPr lang="en-IN" sz="1400" kern="1200" spc="0" baseline="0" dirty="0">
                <a:solidFill>
                  <a:schemeClr val="bg1"/>
                </a:solidFill>
                <a:latin typeface="+mj-lt"/>
                <a:ea typeface="+mn-ea"/>
                <a:cs typeface="+mn-cs"/>
              </a:defRPr>
            </a:lvl1pPr>
          </a:lstStyle>
          <a:p>
            <a:pPr marL="0" marR="0" lvl="0" indent="0" algn="ctr"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pPr>
            <a:r>
              <a:rPr lang="en-US"/>
              <a:t>2</a:t>
            </a:r>
            <a:endParaRPr lang="en-IN"/>
          </a:p>
        </p:txBody>
      </p:sp>
      <p:sp>
        <p:nvSpPr>
          <p:cNvPr id="36" name="Text Placeholder 6">
            <a:extLst>
              <a:ext uri="{FF2B5EF4-FFF2-40B4-BE49-F238E27FC236}">
                <a16:creationId xmlns:a16="http://schemas.microsoft.com/office/drawing/2014/main" id="{CB150928-321A-490C-BB81-ED9617EB1350}"/>
              </a:ext>
            </a:extLst>
          </p:cNvPr>
          <p:cNvSpPr>
            <a:spLocks noGrp="1"/>
          </p:cNvSpPr>
          <p:nvPr>
            <p:ph type="body" sz="quarter" idx="13" hasCustomPrompt="1"/>
          </p:nvPr>
        </p:nvSpPr>
        <p:spPr>
          <a:xfrm>
            <a:off x="814388" y="2270125"/>
            <a:ext cx="10947398" cy="509377"/>
          </a:xfrm>
        </p:spPr>
        <p:txBody>
          <a:bodyPr anchor="ctr"/>
          <a:lstStyle>
            <a:lvl1pPr>
              <a:defRPr sz="1400">
                <a:solidFill>
                  <a:schemeClr val="tx1"/>
                </a:solidFill>
                <a:latin typeface="+mn-lt"/>
              </a:defRPr>
            </a:lvl1pPr>
          </a:lstStyle>
          <a:p>
            <a:pPr lvl="0"/>
            <a:r>
              <a:rPr lang="en-US"/>
              <a:t>Enter text</a:t>
            </a:r>
            <a:endParaRPr lang="en-IN"/>
          </a:p>
        </p:txBody>
      </p:sp>
      <p:sp>
        <p:nvSpPr>
          <p:cNvPr id="37" name="Text Placeholder 3">
            <a:extLst>
              <a:ext uri="{FF2B5EF4-FFF2-40B4-BE49-F238E27FC236}">
                <a16:creationId xmlns:a16="http://schemas.microsoft.com/office/drawing/2014/main" id="{AB83AC4F-7A02-4873-B2D3-D1E2FC26552B}"/>
              </a:ext>
            </a:extLst>
          </p:cNvPr>
          <p:cNvSpPr>
            <a:spLocks noGrp="1"/>
          </p:cNvSpPr>
          <p:nvPr>
            <p:ph type="body" sz="quarter" idx="14" hasCustomPrompt="1"/>
          </p:nvPr>
        </p:nvSpPr>
        <p:spPr>
          <a:xfrm>
            <a:off x="420293" y="3092503"/>
            <a:ext cx="274320" cy="274320"/>
          </a:xfrm>
          <a:prstGeom prst="ellipse">
            <a:avLst/>
          </a:prstGeom>
          <a:solidFill>
            <a:schemeClr val="accent2"/>
          </a:solidFill>
        </p:spPr>
        <p:txBody>
          <a:bodyPr anchor="ctr"/>
          <a:lstStyle>
            <a:lvl1pPr algn="ctr">
              <a:defRPr lang="en-IN" sz="1400" kern="1200" spc="0" baseline="0" dirty="0">
                <a:solidFill>
                  <a:schemeClr val="bg1"/>
                </a:solidFill>
                <a:latin typeface="+mj-lt"/>
                <a:ea typeface="+mn-ea"/>
                <a:cs typeface="+mn-cs"/>
              </a:defRPr>
            </a:lvl1pPr>
          </a:lstStyle>
          <a:p>
            <a:pPr marL="0" marR="0" lvl="0" indent="0" algn="ctr"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pPr>
            <a:r>
              <a:rPr lang="en-US"/>
              <a:t>3</a:t>
            </a:r>
            <a:endParaRPr lang="en-IN"/>
          </a:p>
        </p:txBody>
      </p:sp>
      <p:sp>
        <p:nvSpPr>
          <p:cNvPr id="38" name="Text Placeholder 6">
            <a:extLst>
              <a:ext uri="{FF2B5EF4-FFF2-40B4-BE49-F238E27FC236}">
                <a16:creationId xmlns:a16="http://schemas.microsoft.com/office/drawing/2014/main" id="{B5822563-6194-4064-A522-74C0317D5B7D}"/>
              </a:ext>
            </a:extLst>
          </p:cNvPr>
          <p:cNvSpPr>
            <a:spLocks noGrp="1"/>
          </p:cNvSpPr>
          <p:nvPr>
            <p:ph type="body" sz="quarter" idx="15" hasCustomPrompt="1"/>
          </p:nvPr>
        </p:nvSpPr>
        <p:spPr>
          <a:xfrm>
            <a:off x="814388" y="2974975"/>
            <a:ext cx="10947398" cy="509377"/>
          </a:xfrm>
        </p:spPr>
        <p:txBody>
          <a:bodyPr anchor="ctr"/>
          <a:lstStyle>
            <a:lvl1pPr>
              <a:defRPr sz="1400">
                <a:solidFill>
                  <a:schemeClr val="tx1"/>
                </a:solidFill>
                <a:latin typeface="+mn-lt"/>
              </a:defRPr>
            </a:lvl1pPr>
          </a:lstStyle>
          <a:p>
            <a:pPr lvl="0"/>
            <a:r>
              <a:rPr lang="en-US"/>
              <a:t>Enter text</a:t>
            </a:r>
            <a:endParaRPr lang="en-IN"/>
          </a:p>
        </p:txBody>
      </p:sp>
      <p:sp>
        <p:nvSpPr>
          <p:cNvPr id="4" name="Table Placeholder 3">
            <a:extLst>
              <a:ext uri="{FF2B5EF4-FFF2-40B4-BE49-F238E27FC236}">
                <a16:creationId xmlns:a16="http://schemas.microsoft.com/office/drawing/2014/main" id="{479AFC2B-DB30-4658-9919-9D77D08A106C}"/>
              </a:ext>
            </a:extLst>
          </p:cNvPr>
          <p:cNvSpPr>
            <a:spLocks noGrp="1"/>
          </p:cNvSpPr>
          <p:nvPr>
            <p:ph type="tbl" sz="quarter" idx="16" hasCustomPrompt="1"/>
          </p:nvPr>
        </p:nvSpPr>
        <p:spPr>
          <a:xfrm>
            <a:off x="424656" y="3746500"/>
            <a:ext cx="11342688" cy="2540000"/>
          </a:xfrm>
        </p:spPr>
        <p:txBody>
          <a:bodyPr tIns="0" bIns="914400" anchor="ctr"/>
          <a:lstStyle>
            <a:lvl1pPr algn="ctr">
              <a:defRPr sz="1600"/>
            </a:lvl1pPr>
          </a:lstStyle>
          <a:p>
            <a:r>
              <a:rPr lang="en-US"/>
              <a:t>Click here to create table</a:t>
            </a:r>
            <a:endParaRPr lang="en-IN"/>
          </a:p>
        </p:txBody>
      </p:sp>
    </p:spTree>
    <p:extLst>
      <p:ext uri="{BB962C8B-B14F-4D97-AF65-F5344CB8AC3E}">
        <p14:creationId xmlns:p14="http://schemas.microsoft.com/office/powerpoint/2010/main" val="1699909653"/>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1/3 Image w/ custom content">
    <p:bg>
      <p:bgPr>
        <a:solidFill>
          <a:schemeClr val="bg1">
            <a:lumMod val="95000"/>
          </a:schemeClr>
        </a:solidFill>
        <a:effectLst/>
      </p:bgPr>
    </p:bg>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34A88642-D991-42C7-B592-4AA898156C8F}"/>
              </a:ext>
            </a:extLst>
          </p:cNvPr>
          <p:cNvSpPr>
            <a:spLocks noGrp="1"/>
          </p:cNvSpPr>
          <p:nvPr>
            <p:ph type="title"/>
          </p:nvPr>
        </p:nvSpPr>
        <p:spPr>
          <a:xfrm>
            <a:off x="426424" y="435824"/>
            <a:ext cx="6322463" cy="744014"/>
          </a:xfrm>
        </p:spPr>
        <p:txBody>
          <a:bodyPr/>
          <a:lstStyle/>
          <a:p>
            <a:r>
              <a:rPr lang="en-US"/>
              <a:t>Click to edit Master title style</a:t>
            </a:r>
          </a:p>
        </p:txBody>
      </p:sp>
      <p:sp>
        <p:nvSpPr>
          <p:cNvPr id="17" name="Title 11">
            <a:extLst>
              <a:ext uri="{FF2B5EF4-FFF2-40B4-BE49-F238E27FC236}">
                <a16:creationId xmlns:a16="http://schemas.microsoft.com/office/drawing/2014/main" id="{40DF7144-AED1-4B4E-A65B-49A07705299D}"/>
              </a:ext>
            </a:extLst>
          </p:cNvPr>
          <p:cNvSpPr txBox="1">
            <a:spLocks/>
          </p:cNvSpPr>
          <p:nvPr/>
        </p:nvSpPr>
        <p:spPr>
          <a:xfrm>
            <a:off x="0" y="4295775"/>
            <a:ext cx="6748887" cy="1810927"/>
          </a:xfrm>
          <a:prstGeom prst="rect">
            <a:avLst/>
          </a:prstGeom>
          <a:solidFill>
            <a:schemeClr val="bg1">
              <a:lumMod val="85000"/>
              <a:alpha val="45000"/>
            </a:schemeClr>
          </a:solidFill>
        </p:spPr>
        <p:txBody>
          <a:bodyPr vert="horz" wrap="square" lIns="457200" tIns="91440" rIns="182880" bIns="91440" rtlCol="0" anchor="ctr">
            <a:noAutofit/>
          </a:bodyPr>
          <a:lstStyle>
            <a:lvl1pPr algn="l" defTabSz="914367" rtl="0" eaLnBrk="1" latinLnBrk="0" hangingPunct="1">
              <a:lnSpc>
                <a:spcPct val="90000"/>
              </a:lnSpc>
              <a:spcBef>
                <a:spcPct val="0"/>
              </a:spcBef>
              <a:buNone/>
              <a:defRPr lang="en-US" sz="3000" b="0" kern="1200" cap="none" spc="-147" baseline="0" dirty="0" smtClean="0">
                <a:ln w="3175">
                  <a:noFill/>
                </a:ln>
                <a:solidFill>
                  <a:srgbClr val="000000"/>
                </a:solidFill>
                <a:effectLst/>
                <a:latin typeface="+mj-lt"/>
                <a:ea typeface="+mn-ea"/>
                <a:cs typeface="Segoe UI" pitchFamily="34" charset="0"/>
              </a:defRPr>
            </a:lvl1pPr>
          </a:lstStyle>
          <a:p>
            <a:pPr>
              <a:lnSpc>
                <a:spcPct val="100000"/>
              </a:lnSpc>
              <a:spcBef>
                <a:spcPts val="600"/>
              </a:spcBef>
            </a:pPr>
            <a:endParaRPr lang="en-US" sz="1600" spc="0" baseline="30000">
              <a:solidFill>
                <a:schemeClr val="tx1"/>
              </a:solidFill>
              <a:latin typeface="+mn-lt"/>
            </a:endParaRPr>
          </a:p>
        </p:txBody>
      </p:sp>
      <p:cxnSp>
        <p:nvCxnSpPr>
          <p:cNvPr id="18" name="Straight Connector 17">
            <a:extLst>
              <a:ext uri="{FF2B5EF4-FFF2-40B4-BE49-F238E27FC236}">
                <a16:creationId xmlns:a16="http://schemas.microsoft.com/office/drawing/2014/main" id="{D666439B-C261-4723-BA5E-49392791E4C4}"/>
              </a:ext>
            </a:extLst>
          </p:cNvPr>
          <p:cNvCxnSpPr>
            <a:cxnSpLocks/>
          </p:cNvCxnSpPr>
          <p:nvPr/>
        </p:nvCxnSpPr>
        <p:spPr>
          <a:xfrm>
            <a:off x="3491091" y="1146802"/>
            <a:ext cx="0" cy="2955925"/>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DB814FE0-BD65-427E-90DC-7BE78144CAC9}"/>
              </a:ext>
            </a:extLst>
          </p:cNvPr>
          <p:cNvCxnSpPr>
            <a:cxnSpLocks/>
          </p:cNvCxnSpPr>
          <p:nvPr/>
        </p:nvCxnSpPr>
        <p:spPr>
          <a:xfrm>
            <a:off x="419100" y="2624764"/>
            <a:ext cx="6143983"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0" name="Picture Placeholder 3">
            <a:extLst>
              <a:ext uri="{FF2B5EF4-FFF2-40B4-BE49-F238E27FC236}">
                <a16:creationId xmlns:a16="http://schemas.microsoft.com/office/drawing/2014/main" id="{DF23FCAE-DCAA-408C-9355-D1CEE212E8FA}"/>
              </a:ext>
            </a:extLst>
          </p:cNvPr>
          <p:cNvSpPr>
            <a:spLocks noGrp="1"/>
          </p:cNvSpPr>
          <p:nvPr>
            <p:ph type="pic" sz="quarter" idx="10" hasCustomPrompt="1"/>
          </p:nvPr>
        </p:nvSpPr>
        <p:spPr>
          <a:xfrm flipH="1">
            <a:off x="6748886" y="45718"/>
            <a:ext cx="5443113" cy="6812281"/>
          </a:xfrm>
        </p:spPr>
        <p:txBody>
          <a:bodyPr bIns="1005840" anchor="ctr"/>
          <a:lstStyle>
            <a:lvl1pPr algn="ctr">
              <a:defRPr sz="2000">
                <a:latin typeface="+mn-lt"/>
              </a:defRPr>
            </a:lvl1pPr>
          </a:lstStyle>
          <a:p>
            <a:r>
              <a:rPr lang="en-IN"/>
              <a:t>Click here</a:t>
            </a:r>
          </a:p>
        </p:txBody>
      </p:sp>
      <p:sp>
        <p:nvSpPr>
          <p:cNvPr id="22" name="Text Placeholder 5">
            <a:extLst>
              <a:ext uri="{FF2B5EF4-FFF2-40B4-BE49-F238E27FC236}">
                <a16:creationId xmlns:a16="http://schemas.microsoft.com/office/drawing/2014/main" id="{85807E45-A0EE-43B4-BFD5-56D1831936E6}"/>
              </a:ext>
            </a:extLst>
          </p:cNvPr>
          <p:cNvSpPr>
            <a:spLocks noGrp="1"/>
          </p:cNvSpPr>
          <p:nvPr>
            <p:ph type="body" sz="quarter" idx="11" hasCustomPrompt="1"/>
          </p:nvPr>
        </p:nvSpPr>
        <p:spPr>
          <a:xfrm>
            <a:off x="426425" y="1325066"/>
            <a:ext cx="2868953" cy="1096785"/>
          </a:xfrm>
        </p:spPr>
        <p:txBody>
          <a:bodyPr anchor="ctr"/>
          <a:lstStyle>
            <a:lvl1pPr>
              <a:defRPr lang="en-US" sz="2400" b="0" kern="1200" cap="none" spc="0" baseline="0" dirty="0" smtClean="0">
                <a:ln w="3175">
                  <a:noFill/>
                </a:ln>
                <a:solidFill>
                  <a:srgbClr val="127010"/>
                </a:solidFill>
                <a:effectLst/>
                <a:latin typeface="+mj-lt"/>
                <a:ea typeface="+mn-ea"/>
                <a:cs typeface="Segoe UI" pitchFamily="34" charset="0"/>
              </a:defRPr>
            </a:lvl1pPr>
            <a:lvl2pPr marL="0" indent="0">
              <a:defRPr lang="en-US" sz="1600" b="0" kern="1200" cap="none" spc="0" baseline="0" dirty="0">
                <a:ln w="3175">
                  <a:noFill/>
                </a:ln>
                <a:solidFill>
                  <a:srgbClr val="000000"/>
                </a:solidFill>
                <a:effectLst/>
                <a:latin typeface="+mn-lt"/>
                <a:ea typeface="+mn-ea"/>
                <a:cs typeface="Segoe UI" pitchFamily="34" charset="0"/>
              </a:defRPr>
            </a:lvl2pPr>
          </a:lstStyle>
          <a:p>
            <a:pPr lvl="1"/>
            <a:r>
              <a:rPr lang="en-US"/>
              <a:t>Enter text</a:t>
            </a:r>
          </a:p>
        </p:txBody>
      </p:sp>
      <p:sp>
        <p:nvSpPr>
          <p:cNvPr id="23" name="Text Placeholder 5">
            <a:extLst>
              <a:ext uri="{FF2B5EF4-FFF2-40B4-BE49-F238E27FC236}">
                <a16:creationId xmlns:a16="http://schemas.microsoft.com/office/drawing/2014/main" id="{55B2B29A-A883-4C8E-8E55-AFB404D79CA8}"/>
              </a:ext>
            </a:extLst>
          </p:cNvPr>
          <p:cNvSpPr>
            <a:spLocks noGrp="1"/>
          </p:cNvSpPr>
          <p:nvPr>
            <p:ph type="body" sz="quarter" idx="12" hasCustomPrompt="1"/>
          </p:nvPr>
        </p:nvSpPr>
        <p:spPr>
          <a:xfrm>
            <a:off x="3719762" y="1325066"/>
            <a:ext cx="2868953" cy="1096785"/>
          </a:xfrm>
        </p:spPr>
        <p:txBody>
          <a:bodyPr anchor="ctr"/>
          <a:lstStyle>
            <a:lvl1pPr>
              <a:defRPr lang="en-US" sz="2400" b="0" kern="1200" cap="none" spc="0" baseline="0" dirty="0" smtClean="0">
                <a:ln w="3175">
                  <a:noFill/>
                </a:ln>
                <a:solidFill>
                  <a:srgbClr val="127010"/>
                </a:solidFill>
                <a:effectLst/>
                <a:latin typeface="+mj-lt"/>
                <a:ea typeface="+mn-ea"/>
                <a:cs typeface="Segoe UI" pitchFamily="34" charset="0"/>
              </a:defRPr>
            </a:lvl1pPr>
            <a:lvl2pPr marL="0" indent="0">
              <a:defRPr lang="en-US" sz="1600" b="0" kern="1200" cap="none" spc="0" baseline="0" dirty="0">
                <a:ln w="3175">
                  <a:noFill/>
                </a:ln>
                <a:solidFill>
                  <a:srgbClr val="000000"/>
                </a:solidFill>
                <a:effectLst/>
                <a:latin typeface="+mn-lt"/>
                <a:ea typeface="+mn-ea"/>
                <a:cs typeface="Segoe UI" pitchFamily="34" charset="0"/>
              </a:defRPr>
            </a:lvl2pPr>
          </a:lstStyle>
          <a:p>
            <a:pPr lvl="1"/>
            <a:r>
              <a:rPr lang="en-US"/>
              <a:t>Enter text</a:t>
            </a:r>
          </a:p>
        </p:txBody>
      </p:sp>
      <p:sp>
        <p:nvSpPr>
          <p:cNvPr id="24" name="Text Placeholder 5">
            <a:extLst>
              <a:ext uri="{FF2B5EF4-FFF2-40B4-BE49-F238E27FC236}">
                <a16:creationId xmlns:a16="http://schemas.microsoft.com/office/drawing/2014/main" id="{3592F741-3F25-40E4-9CFF-8A51301B6C40}"/>
              </a:ext>
            </a:extLst>
          </p:cNvPr>
          <p:cNvSpPr>
            <a:spLocks noGrp="1"/>
          </p:cNvSpPr>
          <p:nvPr>
            <p:ph type="body" sz="quarter" idx="13" hasCustomPrompt="1"/>
          </p:nvPr>
        </p:nvSpPr>
        <p:spPr>
          <a:xfrm>
            <a:off x="426425" y="2854121"/>
            <a:ext cx="2868953" cy="1096785"/>
          </a:xfrm>
        </p:spPr>
        <p:txBody>
          <a:bodyPr anchor="ctr"/>
          <a:lstStyle>
            <a:lvl1pPr>
              <a:defRPr lang="en-US" sz="2400" b="0" kern="1200" cap="none" spc="0" baseline="0" dirty="0" smtClean="0">
                <a:ln w="3175">
                  <a:noFill/>
                </a:ln>
                <a:solidFill>
                  <a:srgbClr val="127010"/>
                </a:solidFill>
                <a:effectLst/>
                <a:latin typeface="+mj-lt"/>
                <a:ea typeface="+mn-ea"/>
                <a:cs typeface="Segoe UI" pitchFamily="34" charset="0"/>
              </a:defRPr>
            </a:lvl1pPr>
            <a:lvl2pPr marL="0" indent="0">
              <a:defRPr lang="en-US" sz="1600" b="0" kern="1200" cap="none" spc="0" baseline="0" dirty="0">
                <a:ln w="3175">
                  <a:noFill/>
                </a:ln>
                <a:solidFill>
                  <a:srgbClr val="000000"/>
                </a:solidFill>
                <a:effectLst/>
                <a:latin typeface="+mn-lt"/>
                <a:ea typeface="+mn-ea"/>
                <a:cs typeface="Segoe UI" pitchFamily="34" charset="0"/>
              </a:defRPr>
            </a:lvl2pPr>
          </a:lstStyle>
          <a:p>
            <a:pPr lvl="1"/>
            <a:r>
              <a:rPr lang="en-US"/>
              <a:t>Enter text</a:t>
            </a:r>
          </a:p>
        </p:txBody>
      </p:sp>
      <p:sp>
        <p:nvSpPr>
          <p:cNvPr id="26" name="Text Placeholder 5">
            <a:extLst>
              <a:ext uri="{FF2B5EF4-FFF2-40B4-BE49-F238E27FC236}">
                <a16:creationId xmlns:a16="http://schemas.microsoft.com/office/drawing/2014/main" id="{C52DFC1B-8B6B-439C-83B9-95653C2E3595}"/>
              </a:ext>
            </a:extLst>
          </p:cNvPr>
          <p:cNvSpPr>
            <a:spLocks noGrp="1"/>
          </p:cNvSpPr>
          <p:nvPr>
            <p:ph type="body" sz="quarter" idx="14" hasCustomPrompt="1"/>
          </p:nvPr>
        </p:nvSpPr>
        <p:spPr>
          <a:xfrm>
            <a:off x="3719762" y="2854121"/>
            <a:ext cx="2868953" cy="1096785"/>
          </a:xfrm>
        </p:spPr>
        <p:txBody>
          <a:bodyPr anchor="ctr"/>
          <a:lstStyle>
            <a:lvl1pPr>
              <a:defRPr lang="en-US" sz="2400" b="0" kern="1200" cap="none" spc="0" baseline="0" dirty="0" smtClean="0">
                <a:ln w="3175">
                  <a:noFill/>
                </a:ln>
                <a:solidFill>
                  <a:srgbClr val="127010"/>
                </a:solidFill>
                <a:effectLst/>
                <a:latin typeface="+mj-lt"/>
                <a:ea typeface="+mn-ea"/>
                <a:cs typeface="Segoe UI" pitchFamily="34" charset="0"/>
              </a:defRPr>
            </a:lvl1pPr>
            <a:lvl2pPr marL="0" indent="0">
              <a:defRPr lang="en-US" sz="1600" b="0" kern="1200" cap="none" spc="0" baseline="0" dirty="0">
                <a:ln w="3175">
                  <a:noFill/>
                </a:ln>
                <a:solidFill>
                  <a:srgbClr val="000000"/>
                </a:solidFill>
                <a:effectLst/>
                <a:latin typeface="+mn-lt"/>
                <a:ea typeface="+mn-ea"/>
                <a:cs typeface="Segoe UI" pitchFamily="34" charset="0"/>
              </a:defRPr>
            </a:lvl2pPr>
          </a:lstStyle>
          <a:p>
            <a:pPr lvl="1"/>
            <a:r>
              <a:rPr lang="en-US"/>
              <a:t>Enter text</a:t>
            </a:r>
          </a:p>
        </p:txBody>
      </p:sp>
      <p:sp>
        <p:nvSpPr>
          <p:cNvPr id="27" name="Text Placeholder 5">
            <a:extLst>
              <a:ext uri="{FF2B5EF4-FFF2-40B4-BE49-F238E27FC236}">
                <a16:creationId xmlns:a16="http://schemas.microsoft.com/office/drawing/2014/main" id="{714DF4EC-7632-4219-BF0A-88C028AE9863}"/>
              </a:ext>
            </a:extLst>
          </p:cNvPr>
          <p:cNvSpPr>
            <a:spLocks noGrp="1"/>
          </p:cNvSpPr>
          <p:nvPr>
            <p:ph type="body" sz="quarter" idx="15" hasCustomPrompt="1"/>
          </p:nvPr>
        </p:nvSpPr>
        <p:spPr>
          <a:xfrm>
            <a:off x="426425" y="4423841"/>
            <a:ext cx="6162290" cy="1565479"/>
          </a:xfrm>
        </p:spPr>
        <p:txBody>
          <a:bodyPr anchor="t"/>
          <a:lstStyle>
            <a:lvl1pPr>
              <a:defRPr lang="en-US" sz="2400" b="0" kern="1200" cap="none" spc="0" baseline="0" dirty="0" smtClean="0">
                <a:ln w="3175">
                  <a:noFill/>
                </a:ln>
                <a:solidFill>
                  <a:srgbClr val="127010"/>
                </a:solidFill>
                <a:effectLst/>
                <a:latin typeface="+mj-lt"/>
                <a:ea typeface="+mn-ea"/>
                <a:cs typeface="Segoe UI" pitchFamily="34" charset="0"/>
              </a:defRPr>
            </a:lvl1pPr>
            <a:lvl2pPr marL="0" indent="0">
              <a:defRPr lang="en-US" sz="1600" b="0" kern="1200" cap="none" spc="0" baseline="0" dirty="0">
                <a:ln w="3175">
                  <a:noFill/>
                </a:ln>
                <a:solidFill>
                  <a:srgbClr val="000000"/>
                </a:solidFill>
                <a:effectLst/>
                <a:latin typeface="+mn-lt"/>
                <a:ea typeface="+mn-ea"/>
                <a:cs typeface="Segoe UI" pitchFamily="34" charset="0"/>
              </a:defRPr>
            </a:lvl2pPr>
          </a:lstStyle>
          <a:p>
            <a:pPr lvl="1"/>
            <a:r>
              <a:rPr lang="en-US"/>
              <a:t>Enter text</a:t>
            </a:r>
          </a:p>
        </p:txBody>
      </p:sp>
      <p:sp>
        <p:nvSpPr>
          <p:cNvPr id="28" name="Rectangle 27">
            <a:extLst>
              <a:ext uri="{FF2B5EF4-FFF2-40B4-BE49-F238E27FC236}">
                <a16:creationId xmlns:a16="http://schemas.microsoft.com/office/drawing/2014/main" id="{CA3A78A2-5689-4BC6-96F3-38B25A28EF80}"/>
              </a:ext>
            </a:extLst>
          </p:cNvPr>
          <p:cNvSpPr/>
          <p:nvPr/>
        </p:nvSpPr>
        <p:spPr bwMode="auto">
          <a:xfrm>
            <a:off x="0" y="0"/>
            <a:ext cx="12192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indent="-285750" algn="l">
              <a:lnSpc>
                <a:spcPct val="107000"/>
              </a:lnSpc>
              <a:spcBef>
                <a:spcPts val="0"/>
              </a:spcBef>
              <a:spcAft>
                <a:spcPts val="800"/>
              </a:spcAft>
              <a:buFont typeface="Arial" panose="020B0604020202020204" pitchFamily="34" charset="0"/>
              <a:buChar char="•"/>
            </a:pPr>
            <a:endParaRPr lang="en-US" sz="180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83685033"/>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p:cSld name="Thank you slide">
    <p:bg>
      <p:bgPr>
        <a:solidFill>
          <a:schemeClr val="bg1">
            <a:lumMod val="95000"/>
          </a:schemeClr>
        </a:solidFill>
        <a:effectLst/>
      </p:bgPr>
    </p:bg>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4FD22791-FE5D-4F7B-886D-30BFE8BC797D}"/>
              </a:ext>
            </a:extLst>
          </p:cNvPr>
          <p:cNvGrpSpPr/>
          <p:nvPr/>
        </p:nvGrpSpPr>
        <p:grpSpPr>
          <a:xfrm>
            <a:off x="1" y="0"/>
            <a:ext cx="12192000" cy="6858000"/>
            <a:chOff x="1" y="0"/>
            <a:chExt cx="12192000" cy="6858000"/>
          </a:xfrm>
        </p:grpSpPr>
        <p:sp>
          <p:nvSpPr>
            <p:cNvPr id="19" name="Freeform: Shape 18">
              <a:extLst>
                <a:ext uri="{FF2B5EF4-FFF2-40B4-BE49-F238E27FC236}">
                  <a16:creationId xmlns:a16="http://schemas.microsoft.com/office/drawing/2014/main" id="{8E7B880C-7EEE-4089-9729-69330EAA6F5A}"/>
                </a:ext>
              </a:extLst>
            </p:cNvPr>
            <p:cNvSpPr/>
            <p:nvPr/>
          </p:nvSpPr>
          <p:spPr bwMode="auto">
            <a:xfrm>
              <a:off x="1" y="0"/>
              <a:ext cx="8944707" cy="6858000"/>
            </a:xfrm>
            <a:custGeom>
              <a:avLst/>
              <a:gdLst>
                <a:gd name="connsiteX0" fmla="*/ 6765344 w 8944707"/>
                <a:gd name="connsiteY0" fmla="*/ 0 h 6858000"/>
                <a:gd name="connsiteX1" fmla="*/ 8824870 w 8944707"/>
                <a:gd name="connsiteY1" fmla="*/ 0 h 6858000"/>
                <a:gd name="connsiteX2" fmla="*/ 8803725 w 8944707"/>
                <a:gd name="connsiteY2" fmla="*/ 7164 h 6858000"/>
                <a:gd name="connsiteX3" fmla="*/ 6430679 w 8944707"/>
                <a:gd name="connsiteY3" fmla="*/ 3408699 h 6858000"/>
                <a:gd name="connsiteX4" fmla="*/ 8803725 w 8944707"/>
                <a:gd name="connsiteY4" fmla="*/ 6810234 h 6858000"/>
                <a:gd name="connsiteX5" fmla="*/ 8944707 w 8944707"/>
                <a:gd name="connsiteY5" fmla="*/ 6858000 h 6858000"/>
                <a:gd name="connsiteX6" fmla="*/ 6807874 w 8944707"/>
                <a:gd name="connsiteY6" fmla="*/ 6858000 h 6858000"/>
                <a:gd name="connsiteX7" fmla="*/ 6702699 w 8944707"/>
                <a:gd name="connsiteY7" fmla="*/ 6757594 h 6858000"/>
                <a:gd name="connsiteX8" fmla="*/ 5604364 w 8944707"/>
                <a:gd name="connsiteY8" fmla="*/ 5037112 h 6858000"/>
                <a:gd name="connsiteX9" fmla="*/ 5534558 w 8944707"/>
                <a:gd name="connsiteY9" fmla="*/ 4830536 h 6858000"/>
                <a:gd name="connsiteX10" fmla="*/ 0 w 8944707"/>
                <a:gd name="connsiteY10" fmla="*/ 4830536 h 6858000"/>
                <a:gd name="connsiteX11" fmla="*/ 0 w 8944707"/>
                <a:gd name="connsiteY11" fmla="*/ 2454950 h 6858000"/>
                <a:gd name="connsiteX12" fmla="*/ 5413321 w 8944707"/>
                <a:gd name="connsiteY12" fmla="*/ 2454950 h 6858000"/>
                <a:gd name="connsiteX13" fmla="*/ 5413451 w 8944707"/>
                <a:gd name="connsiteY13" fmla="*/ 2454220 h 6858000"/>
                <a:gd name="connsiteX14" fmla="*/ 6702699 w 8944707"/>
                <a:gd name="connsiteY14" fmla="*/ 5980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944707" h="6858000">
                  <a:moveTo>
                    <a:pt x="6765344" y="0"/>
                  </a:moveTo>
                  <a:lnTo>
                    <a:pt x="8824870" y="0"/>
                  </a:lnTo>
                  <a:lnTo>
                    <a:pt x="8803725" y="7164"/>
                  </a:lnTo>
                  <a:cubicBezTo>
                    <a:pt x="7418946" y="514866"/>
                    <a:pt x="6430679" y="1846222"/>
                    <a:pt x="6430679" y="3408699"/>
                  </a:cubicBezTo>
                  <a:cubicBezTo>
                    <a:pt x="6430679" y="4971177"/>
                    <a:pt x="7418946" y="6302533"/>
                    <a:pt x="8803725" y="6810234"/>
                  </a:cubicBezTo>
                  <a:lnTo>
                    <a:pt x="8944707" y="6858000"/>
                  </a:lnTo>
                  <a:lnTo>
                    <a:pt x="6807874" y="6858000"/>
                  </a:lnTo>
                  <a:lnTo>
                    <a:pt x="6702699" y="6757594"/>
                  </a:lnTo>
                  <a:cubicBezTo>
                    <a:pt x="6221236" y="6275499"/>
                    <a:pt x="5843088" y="5689953"/>
                    <a:pt x="5604364" y="5037112"/>
                  </a:cubicBezTo>
                  <a:lnTo>
                    <a:pt x="5534558" y="4830536"/>
                  </a:lnTo>
                  <a:lnTo>
                    <a:pt x="0" y="4830536"/>
                  </a:lnTo>
                  <a:lnTo>
                    <a:pt x="0" y="2454950"/>
                  </a:lnTo>
                  <a:lnTo>
                    <a:pt x="5413321" y="2454950"/>
                  </a:lnTo>
                  <a:lnTo>
                    <a:pt x="5413451" y="2454220"/>
                  </a:lnTo>
                  <a:cubicBezTo>
                    <a:pt x="5602469" y="1529304"/>
                    <a:pt x="6060748" y="702598"/>
                    <a:pt x="6702699" y="59804"/>
                  </a:cubicBezTo>
                  <a:close/>
                </a:path>
              </a:pathLst>
            </a:custGeom>
            <a:solidFill>
              <a:schemeClr val="bg1">
                <a:lumMod val="85000"/>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indent="-285750" algn="l">
                <a:lnSpc>
                  <a:spcPct val="107000"/>
                </a:lnSpc>
                <a:spcBef>
                  <a:spcPts val="0"/>
                </a:spcBef>
                <a:spcAft>
                  <a:spcPts val="800"/>
                </a:spcAft>
                <a:buFont typeface="Arial" panose="020B0604020202020204" pitchFamily="34" charset="0"/>
                <a:buChar char="•"/>
              </a:pPr>
              <a:endParaRPr lang="en-US" sz="1800" b="1">
                <a:solidFill>
                  <a:schemeClr val="bg1">
                    <a:lumMod val="85000"/>
                  </a:schemeClr>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
          <p:nvSpPr>
            <p:cNvPr id="20" name="Freeform: Shape 19">
              <a:extLst>
                <a:ext uri="{FF2B5EF4-FFF2-40B4-BE49-F238E27FC236}">
                  <a16:creationId xmlns:a16="http://schemas.microsoft.com/office/drawing/2014/main" id="{F58EC76B-5A7E-43F2-8BFB-0CE7BDEF83E2}"/>
                </a:ext>
              </a:extLst>
            </p:cNvPr>
            <p:cNvSpPr/>
            <p:nvPr/>
          </p:nvSpPr>
          <p:spPr bwMode="auto">
            <a:xfrm>
              <a:off x="11269548" y="0"/>
              <a:ext cx="922453" cy="495014"/>
            </a:xfrm>
            <a:custGeom>
              <a:avLst/>
              <a:gdLst>
                <a:gd name="connsiteX0" fmla="*/ 0 w 922453"/>
                <a:gd name="connsiteY0" fmla="*/ 0 h 495014"/>
                <a:gd name="connsiteX1" fmla="*/ 922453 w 922453"/>
                <a:gd name="connsiteY1" fmla="*/ 0 h 495014"/>
                <a:gd name="connsiteX2" fmla="*/ 922453 w 922453"/>
                <a:gd name="connsiteY2" fmla="*/ 495014 h 495014"/>
                <a:gd name="connsiteX3" fmla="*/ 754363 w 922453"/>
                <a:gd name="connsiteY3" fmla="*/ 375710 h 495014"/>
                <a:gd name="connsiteX4" fmla="*/ 21145 w 922453"/>
                <a:gd name="connsiteY4" fmla="*/ 7164 h 495014"/>
                <a:gd name="connsiteX5" fmla="*/ 0 w 922453"/>
                <a:gd name="connsiteY5" fmla="*/ 0 h 495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2453" h="495014">
                  <a:moveTo>
                    <a:pt x="0" y="0"/>
                  </a:moveTo>
                  <a:lnTo>
                    <a:pt x="922453" y="0"/>
                  </a:lnTo>
                  <a:lnTo>
                    <a:pt x="922453" y="495014"/>
                  </a:lnTo>
                  <a:lnTo>
                    <a:pt x="754363" y="375710"/>
                  </a:lnTo>
                  <a:cubicBezTo>
                    <a:pt x="526497" y="226509"/>
                    <a:pt x="280791" y="102358"/>
                    <a:pt x="21145" y="7164"/>
                  </a:cubicBezTo>
                  <a:lnTo>
                    <a:pt x="0" y="0"/>
                  </a:lnTo>
                  <a:close/>
                </a:path>
              </a:pathLst>
            </a:custGeom>
            <a:solidFill>
              <a:schemeClr val="bg1">
                <a:lumMod val="85000"/>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indent="-285750" algn="l">
                <a:lnSpc>
                  <a:spcPct val="107000"/>
                </a:lnSpc>
                <a:spcBef>
                  <a:spcPts val="0"/>
                </a:spcBef>
                <a:spcAft>
                  <a:spcPts val="800"/>
                </a:spcAft>
                <a:buFont typeface="Arial" panose="020B0604020202020204" pitchFamily="34" charset="0"/>
                <a:buChar char="•"/>
              </a:pPr>
              <a:endParaRPr lang="en-US" sz="180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
          <p:nvSpPr>
            <p:cNvPr id="21" name="Freeform: Shape 20">
              <a:extLst>
                <a:ext uri="{FF2B5EF4-FFF2-40B4-BE49-F238E27FC236}">
                  <a16:creationId xmlns:a16="http://schemas.microsoft.com/office/drawing/2014/main" id="{FAFEE4D6-E46F-43B7-98BC-AD39FDEEE4E6}"/>
                </a:ext>
              </a:extLst>
            </p:cNvPr>
            <p:cNvSpPr/>
            <p:nvPr/>
          </p:nvSpPr>
          <p:spPr bwMode="auto">
            <a:xfrm>
              <a:off x="11149710" y="6322384"/>
              <a:ext cx="1042290" cy="535616"/>
            </a:xfrm>
            <a:custGeom>
              <a:avLst/>
              <a:gdLst>
                <a:gd name="connsiteX0" fmla="*/ 1042290 w 1042290"/>
                <a:gd name="connsiteY0" fmla="*/ 0 h 535616"/>
                <a:gd name="connsiteX1" fmla="*/ 1042290 w 1042290"/>
                <a:gd name="connsiteY1" fmla="*/ 535616 h 535616"/>
                <a:gd name="connsiteX2" fmla="*/ 0 w 1042290"/>
                <a:gd name="connsiteY2" fmla="*/ 535616 h 535616"/>
                <a:gd name="connsiteX3" fmla="*/ 140982 w 1042290"/>
                <a:gd name="connsiteY3" fmla="*/ 487850 h 535616"/>
                <a:gd name="connsiteX4" fmla="*/ 874200 w 1042290"/>
                <a:gd name="connsiteY4" fmla="*/ 119304 h 535616"/>
                <a:gd name="connsiteX5" fmla="*/ 1042290 w 1042290"/>
                <a:gd name="connsiteY5" fmla="*/ 0 h 535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2290" h="535616">
                  <a:moveTo>
                    <a:pt x="1042290" y="0"/>
                  </a:moveTo>
                  <a:lnTo>
                    <a:pt x="1042290" y="535616"/>
                  </a:lnTo>
                  <a:lnTo>
                    <a:pt x="0" y="535616"/>
                  </a:lnTo>
                  <a:lnTo>
                    <a:pt x="140982" y="487850"/>
                  </a:lnTo>
                  <a:cubicBezTo>
                    <a:pt x="400628" y="392656"/>
                    <a:pt x="646334" y="268506"/>
                    <a:pt x="874200" y="119304"/>
                  </a:cubicBezTo>
                  <a:lnTo>
                    <a:pt x="1042290" y="0"/>
                  </a:lnTo>
                  <a:close/>
                </a:path>
              </a:pathLst>
            </a:custGeom>
            <a:solidFill>
              <a:schemeClr val="bg1">
                <a:lumMod val="85000"/>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indent="-285750" algn="l">
                <a:lnSpc>
                  <a:spcPct val="107000"/>
                </a:lnSpc>
                <a:spcBef>
                  <a:spcPts val="0"/>
                </a:spcBef>
                <a:spcAft>
                  <a:spcPts val="800"/>
                </a:spcAft>
                <a:buFont typeface="Arial" panose="020B0604020202020204" pitchFamily="34" charset="0"/>
                <a:buChar char="•"/>
              </a:pPr>
              <a:endParaRPr lang="en-US" sz="180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grpSp>
      <p:sp>
        <p:nvSpPr>
          <p:cNvPr id="10" name="Text Placeholder 9">
            <a:extLst>
              <a:ext uri="{FF2B5EF4-FFF2-40B4-BE49-F238E27FC236}">
                <a16:creationId xmlns:a16="http://schemas.microsoft.com/office/drawing/2014/main" id="{45ECB48D-7BDD-48EB-8E92-EEC6892CA4C5}"/>
              </a:ext>
            </a:extLst>
          </p:cNvPr>
          <p:cNvSpPr>
            <a:spLocks noGrp="1"/>
          </p:cNvSpPr>
          <p:nvPr>
            <p:ph type="body" sz="quarter" idx="10" hasCustomPrompt="1"/>
          </p:nvPr>
        </p:nvSpPr>
        <p:spPr>
          <a:xfrm>
            <a:off x="392113" y="2676525"/>
            <a:ext cx="4878387" cy="1909763"/>
          </a:xfrm>
        </p:spPr>
        <p:txBody>
          <a:bodyPr lIns="0" tIns="0" rIns="0" bIns="0" anchor="ctr"/>
          <a:lstStyle>
            <a:lvl1pPr algn="l">
              <a:defRPr sz="4800">
                <a:solidFill>
                  <a:schemeClr val="accent2"/>
                </a:solidFill>
                <a:latin typeface="+mj-lt"/>
              </a:defRPr>
            </a:lvl1pPr>
            <a:lvl5pPr>
              <a:defRPr/>
            </a:lvl5pPr>
          </a:lstStyle>
          <a:p>
            <a:pPr lvl="0"/>
            <a:r>
              <a:rPr lang="en-US"/>
              <a:t>Insert Title here</a:t>
            </a:r>
          </a:p>
        </p:txBody>
      </p:sp>
      <p:pic>
        <p:nvPicPr>
          <p:cNvPr id="26" name="Picture 2">
            <a:extLst>
              <a:ext uri="{FF2B5EF4-FFF2-40B4-BE49-F238E27FC236}">
                <a16:creationId xmlns:a16="http://schemas.microsoft.com/office/drawing/2014/main" id="{240939C1-1B9F-416D-9006-A3A8E3199D38}"/>
              </a:ext>
            </a:extLst>
          </p:cNvPr>
          <p:cNvPicPr>
            <a:picLocks noChangeAspect="1" noChangeArrowheads="1"/>
          </p:cNvPicPr>
          <p:nvPr/>
        </p:nvPicPr>
        <p:blipFill rotWithShape="1">
          <a:blip r:embed="rId2">
            <a:extLst>
              <a:ext uri="{28A0092B-C50C-407E-A947-70E740481C1C}">
                <a14:useLocalDpi xmlns:a14="http://schemas.microsoft.com/office/drawing/2010/main"/>
              </a:ext>
            </a:extLst>
          </a:blip>
          <a:stretch/>
        </p:blipFill>
        <p:spPr bwMode="auto">
          <a:xfrm>
            <a:off x="7450138" y="1053306"/>
            <a:ext cx="5156200" cy="5156200"/>
          </a:xfrm>
          <a:prstGeom prst="rect">
            <a:avLst/>
          </a:prstGeom>
          <a:extLst>
            <a:ext uri="{909E8E84-426E-40DD-AFC4-6F175D3DCCD1}">
              <a14:hiddenFill xmlns:a14="http://schemas.microsoft.com/office/drawing/2010/main">
                <a:solidFill>
                  <a:srgbClr val="FFFFFF"/>
                </a:solidFill>
              </a14:hiddenFill>
            </a:ext>
          </a:extLst>
        </p:spPr>
      </p:pic>
      <p:pic>
        <p:nvPicPr>
          <p:cNvPr id="30" name="Graphic 29">
            <a:extLst>
              <a:ext uri="{FF2B5EF4-FFF2-40B4-BE49-F238E27FC236}">
                <a16:creationId xmlns:a16="http://schemas.microsoft.com/office/drawing/2014/main" id="{91587376-BA91-48FF-B8FB-0746589D8905}"/>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19101" y="419787"/>
            <a:ext cx="1454150" cy="310607"/>
          </a:xfrm>
          <a:prstGeom prst="rect">
            <a:avLst/>
          </a:prstGeom>
        </p:spPr>
      </p:pic>
    </p:spTree>
    <p:extLst>
      <p:ext uri="{BB962C8B-B14F-4D97-AF65-F5344CB8AC3E}">
        <p14:creationId xmlns:p14="http://schemas.microsoft.com/office/powerpoint/2010/main" val="462682543"/>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4711989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Just blank">
    <p:spTree>
      <p:nvGrpSpPr>
        <p:cNvPr id="1" name=""/>
        <p:cNvGrpSpPr/>
        <p:nvPr/>
      </p:nvGrpSpPr>
      <p:grpSpPr>
        <a:xfrm>
          <a:off x="0" y="0"/>
          <a:ext cx="0" cy="0"/>
          <a:chOff x="0" y="0"/>
          <a:chExt cx="0" cy="0"/>
        </a:xfrm>
      </p:grpSpPr>
      <p:sp>
        <p:nvSpPr>
          <p:cNvPr id="2" name="Content Placeholder 20"/>
          <p:cNvSpPr txBox="1">
            <a:spLocks/>
          </p:cNvSpPr>
          <p:nvPr userDrawn="1"/>
        </p:nvSpPr>
        <p:spPr>
          <a:xfrm>
            <a:off x="0" y="2834358"/>
            <a:ext cx="12192000" cy="1828800"/>
          </a:xfrm>
          <a:prstGeom prst="rect">
            <a:avLst/>
          </a:prstGeom>
        </p:spPr>
        <p:txBody>
          <a:bodyPr>
            <a:noAutofit/>
          </a:bodyPr>
          <a:lstStyle>
            <a:lvl1pPr marL="254862" marR="0" indent="-254862" algn="l" defTabSz="685955" rtl="0" eaLnBrk="1" fontAlgn="auto" latinLnBrk="0" hangingPunct="1">
              <a:lnSpc>
                <a:spcPct val="90000"/>
              </a:lnSpc>
              <a:spcBef>
                <a:spcPct val="20000"/>
              </a:spcBef>
              <a:spcAft>
                <a:spcPts val="0"/>
              </a:spcAft>
              <a:buClrTx/>
              <a:buSzPct val="80000"/>
              <a:buFont typeface="Arial" pitchFamily="34" charset="0"/>
              <a:buChar char="•"/>
              <a:tabLst/>
              <a:defRPr sz="2701" kern="1200" spc="-53" baseline="0">
                <a:solidFill>
                  <a:srgbClr val="333333"/>
                </a:solidFill>
                <a:latin typeface="+mj-lt"/>
                <a:ea typeface="+mn-ea"/>
                <a:cs typeface="+mn-cs"/>
              </a:defRPr>
            </a:lvl1pPr>
            <a:lvl2pPr marL="429931" marR="0" indent="-175069" algn="l" defTabSz="685955"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solidFill>
                  <a:srgbClr val="333333"/>
                </a:solidFill>
                <a:latin typeface="+mn-lt"/>
                <a:ea typeface="+mn-ea"/>
                <a:cs typeface="+mn-cs"/>
              </a:defRPr>
            </a:lvl2pPr>
            <a:lvl3pPr marL="599044" marR="0" indent="-169114" algn="l" defTabSz="685955" rtl="0" eaLnBrk="1" fontAlgn="auto" latinLnBrk="0" hangingPunct="1">
              <a:lnSpc>
                <a:spcPct val="90000"/>
              </a:lnSpc>
              <a:spcBef>
                <a:spcPct val="20000"/>
              </a:spcBef>
              <a:spcAft>
                <a:spcPts val="0"/>
              </a:spcAft>
              <a:buClrTx/>
              <a:buSzPct val="90000"/>
              <a:buFont typeface="Wingdings" pitchFamily="2" charset="2"/>
              <a:buChar char=""/>
              <a:tabLst>
                <a:tab pos="599044" algn="l"/>
              </a:tabLst>
              <a:defRPr sz="1800" kern="1200" spc="0" baseline="0">
                <a:solidFill>
                  <a:srgbClr val="333333"/>
                </a:solidFill>
                <a:latin typeface="+mn-lt"/>
                <a:ea typeface="+mn-ea"/>
                <a:cs typeface="+mn-cs"/>
              </a:defRPr>
            </a:lvl3pPr>
            <a:lvl4pPr marL="772922" marR="0" indent="-173878" algn="l" defTabSz="685955"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solidFill>
                  <a:srgbClr val="333333"/>
                </a:solidFill>
                <a:latin typeface="+mn-lt"/>
                <a:ea typeface="+mn-ea"/>
                <a:cs typeface="+mn-cs"/>
              </a:defRPr>
            </a:lvl4pPr>
            <a:lvl5pPr marL="942036" marR="0" indent="-169114" algn="l" defTabSz="685955" rtl="0" eaLnBrk="1" fontAlgn="auto" latinLnBrk="0" hangingPunct="1">
              <a:lnSpc>
                <a:spcPct val="90000"/>
              </a:lnSpc>
              <a:spcBef>
                <a:spcPct val="20000"/>
              </a:spcBef>
              <a:spcAft>
                <a:spcPts val="0"/>
              </a:spcAft>
              <a:buClrTx/>
              <a:buSzPct val="90000"/>
              <a:buFont typeface="Wingdings" pitchFamily="2" charset="2"/>
              <a:buChar char=""/>
              <a:tabLst>
                <a:tab pos="942036" algn="l"/>
              </a:tabLst>
              <a:defRPr sz="1500" kern="1200" spc="0" baseline="0">
                <a:solidFill>
                  <a:srgbClr val="333333"/>
                </a:solidFill>
                <a:latin typeface="+mn-lt"/>
                <a:ea typeface="+mn-ea"/>
                <a:cs typeface="+mn-cs"/>
              </a:defRPr>
            </a:lvl5pPr>
            <a:lvl6pPr marL="1886377"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355"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333"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311"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lgn="ctr">
              <a:lnSpc>
                <a:spcPct val="150000"/>
              </a:lnSpc>
              <a:buNone/>
            </a:pPr>
            <a:endParaRPr lang="en-US" sz="3200">
              <a:solidFill>
                <a:srgbClr val="0071BC"/>
              </a:solidFill>
            </a:endParaRPr>
          </a:p>
        </p:txBody>
      </p:sp>
    </p:spTree>
    <p:extLst>
      <p:ext uri="{BB962C8B-B14F-4D97-AF65-F5344CB8AC3E}">
        <p14:creationId xmlns:p14="http://schemas.microsoft.com/office/powerpoint/2010/main" val="215628982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1"/>
      </p:bgRef>
    </p:bg>
    <p:spTree>
      <p:nvGrpSpPr>
        <p:cNvPr id="1" name=""/>
        <p:cNvGrpSpPr/>
        <p:nvPr/>
      </p:nvGrpSpPr>
      <p:grpSpPr>
        <a:xfrm>
          <a:off x="0" y="0"/>
          <a:ext cx="0" cy="0"/>
          <a:chOff x="0" y="0"/>
          <a:chExt cx="0" cy="0"/>
        </a:xfrm>
      </p:grpSpPr>
      <p:pic>
        <p:nvPicPr>
          <p:cNvPr id="5" name="Picture 4" descr="Ignite event illustration light">
            <a:extLst>
              <a:ext uri="{FF2B5EF4-FFF2-40B4-BE49-F238E27FC236}">
                <a16:creationId xmlns:a16="http://schemas.microsoft.com/office/drawing/2014/main" id="{DAB43103-0211-42B9-B21F-76E1B9F47117}"/>
              </a:ext>
            </a:extLst>
          </p:cNvPr>
          <p:cNvPicPr>
            <a:picLocks noChangeAspect="1"/>
          </p:cNvPicPr>
          <p:nvPr userDrawn="1"/>
        </p:nvPicPr>
        <p:blipFill>
          <a:blip r:embed="rId2"/>
          <a:srcRect/>
          <a:stretch/>
        </p:blipFill>
        <p:spPr>
          <a:xfrm>
            <a:off x="1" y="0"/>
            <a:ext cx="12191998" cy="6857999"/>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pic>
        <p:nvPicPr>
          <p:cNvPr id="8" name="Picture 7" descr="Microsoft Ignite">
            <a:extLst>
              <a:ext uri="{FF2B5EF4-FFF2-40B4-BE49-F238E27FC236}">
                <a16:creationId xmlns:a16="http://schemas.microsoft.com/office/drawing/2014/main" id="{7111F31C-7FB8-4B8F-AA9A-B4814F3B02A4}"/>
              </a:ext>
            </a:extLst>
          </p:cNvPr>
          <p:cNvPicPr>
            <a:picLocks noChangeAspect="1"/>
          </p:cNvPicPr>
          <p:nvPr userDrawn="1"/>
        </p:nvPicPr>
        <p:blipFill>
          <a:blip r:embed="rId4"/>
          <a:stretch>
            <a:fillRect/>
          </a:stretch>
        </p:blipFill>
        <p:spPr>
          <a:xfrm>
            <a:off x="-14514" y="1296364"/>
            <a:ext cx="6470196" cy="1667922"/>
          </a:xfrm>
          <a:prstGeom prst="rect">
            <a:avLst/>
          </a:prstGeom>
        </p:spPr>
      </p:pic>
    </p:spTree>
    <p:extLst>
      <p:ext uri="{BB962C8B-B14F-4D97-AF65-F5344CB8AC3E}">
        <p14:creationId xmlns:p14="http://schemas.microsoft.com/office/powerpoint/2010/main" val="12799454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0078D4"/>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8" name="MS logo gray - EMF" descr="Microsoft logo, gray text version">
            <a:extLst>
              <a:ext uri="{FF2B5EF4-FFF2-40B4-BE49-F238E27FC236}">
                <a16:creationId xmlns:a16="http://schemas.microsoft.com/office/drawing/2014/main" id="{CAF610D3-6117-48F4-AED9-F47791F33EBB}"/>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581718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4571075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914553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6344433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564959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4594946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110916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10465755"/>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37895625"/>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0702577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2805172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7423052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17265170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7033706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7883164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9213328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9701906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24778429"/>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18789555"/>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theme" Target="../theme/theme1.xml"/><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image" Target="../media/image1.emf"/><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slideLayout" Target="../slideLayouts/slideLayout70.xml"/><Relationship Id="rId18" Type="http://schemas.openxmlformats.org/officeDocument/2006/relationships/slideLayout" Target="../slideLayouts/slideLayout75.xml"/><Relationship Id="rId26" Type="http://schemas.openxmlformats.org/officeDocument/2006/relationships/tags" Target="../tags/tag2.xml"/><Relationship Id="rId3" Type="http://schemas.openxmlformats.org/officeDocument/2006/relationships/slideLayout" Target="../slideLayouts/slideLayout60.xml"/><Relationship Id="rId21" Type="http://schemas.openxmlformats.org/officeDocument/2006/relationships/slideLayout" Target="../slideLayouts/slideLayout78.xml"/><Relationship Id="rId7" Type="http://schemas.openxmlformats.org/officeDocument/2006/relationships/slideLayout" Target="../slideLayouts/slideLayout64.xml"/><Relationship Id="rId12" Type="http://schemas.openxmlformats.org/officeDocument/2006/relationships/slideLayout" Target="../slideLayouts/slideLayout69.xml"/><Relationship Id="rId17" Type="http://schemas.openxmlformats.org/officeDocument/2006/relationships/slideLayout" Target="../slideLayouts/slideLayout74.xml"/><Relationship Id="rId25" Type="http://schemas.openxmlformats.org/officeDocument/2006/relationships/vmlDrawing" Target="../drawings/vmlDrawing1.vml"/><Relationship Id="rId2" Type="http://schemas.openxmlformats.org/officeDocument/2006/relationships/slideLayout" Target="../slideLayouts/slideLayout59.xml"/><Relationship Id="rId16" Type="http://schemas.openxmlformats.org/officeDocument/2006/relationships/slideLayout" Target="../slideLayouts/slideLayout73.xml"/><Relationship Id="rId20" Type="http://schemas.openxmlformats.org/officeDocument/2006/relationships/slideLayout" Target="../slideLayouts/slideLayout77.xml"/><Relationship Id="rId29" Type="http://schemas.openxmlformats.org/officeDocument/2006/relationships/image" Target="../media/image45.emf"/><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24" Type="http://schemas.openxmlformats.org/officeDocument/2006/relationships/theme" Target="../theme/theme2.xml"/><Relationship Id="rId5" Type="http://schemas.openxmlformats.org/officeDocument/2006/relationships/slideLayout" Target="../slideLayouts/slideLayout62.xml"/><Relationship Id="rId15" Type="http://schemas.openxmlformats.org/officeDocument/2006/relationships/slideLayout" Target="../slideLayouts/slideLayout72.xml"/><Relationship Id="rId23" Type="http://schemas.openxmlformats.org/officeDocument/2006/relationships/slideLayout" Target="../slideLayouts/slideLayout80.xml"/><Relationship Id="rId28" Type="http://schemas.openxmlformats.org/officeDocument/2006/relationships/oleObject" Target="../embeddings/oleObject1.bin"/><Relationship Id="rId10" Type="http://schemas.openxmlformats.org/officeDocument/2006/relationships/slideLayout" Target="../slideLayouts/slideLayout67.xml"/><Relationship Id="rId19" Type="http://schemas.openxmlformats.org/officeDocument/2006/relationships/slideLayout" Target="../slideLayouts/slideLayout76.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slideLayout" Target="../slideLayouts/slideLayout71.xml"/><Relationship Id="rId22" Type="http://schemas.openxmlformats.org/officeDocument/2006/relationships/slideLayout" Target="../slideLayouts/slideLayout79.xml"/><Relationship Id="rId27" Type="http://schemas.openxmlformats.org/officeDocument/2006/relationships/tags" Target="../tags/tag3.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93.xml"/><Relationship Id="rId18" Type="http://schemas.openxmlformats.org/officeDocument/2006/relationships/slideLayout" Target="../slideLayouts/slideLayout98.xml"/><Relationship Id="rId26" Type="http://schemas.openxmlformats.org/officeDocument/2006/relationships/slideLayout" Target="../slideLayouts/slideLayout106.xml"/><Relationship Id="rId39" Type="http://schemas.openxmlformats.org/officeDocument/2006/relationships/slideLayout" Target="../slideLayouts/slideLayout119.xml"/><Relationship Id="rId21" Type="http://schemas.openxmlformats.org/officeDocument/2006/relationships/slideLayout" Target="../slideLayouts/slideLayout101.xml"/><Relationship Id="rId34" Type="http://schemas.openxmlformats.org/officeDocument/2006/relationships/slideLayout" Target="../slideLayouts/slideLayout114.xml"/><Relationship Id="rId42" Type="http://schemas.openxmlformats.org/officeDocument/2006/relationships/slideLayout" Target="../slideLayouts/slideLayout122.xml"/><Relationship Id="rId47" Type="http://schemas.openxmlformats.org/officeDocument/2006/relationships/slideLayout" Target="../slideLayouts/slideLayout127.xml"/><Relationship Id="rId50" Type="http://schemas.openxmlformats.org/officeDocument/2006/relationships/slideLayout" Target="../slideLayouts/slideLayout130.xml"/><Relationship Id="rId7" Type="http://schemas.openxmlformats.org/officeDocument/2006/relationships/slideLayout" Target="../slideLayouts/slideLayout87.xml"/><Relationship Id="rId2" Type="http://schemas.openxmlformats.org/officeDocument/2006/relationships/slideLayout" Target="../slideLayouts/slideLayout82.xml"/><Relationship Id="rId16" Type="http://schemas.openxmlformats.org/officeDocument/2006/relationships/slideLayout" Target="../slideLayouts/slideLayout96.xml"/><Relationship Id="rId29" Type="http://schemas.openxmlformats.org/officeDocument/2006/relationships/slideLayout" Target="../slideLayouts/slideLayout109.xml"/><Relationship Id="rId11" Type="http://schemas.openxmlformats.org/officeDocument/2006/relationships/slideLayout" Target="../slideLayouts/slideLayout91.xml"/><Relationship Id="rId24" Type="http://schemas.openxmlformats.org/officeDocument/2006/relationships/slideLayout" Target="../slideLayouts/slideLayout104.xml"/><Relationship Id="rId32" Type="http://schemas.openxmlformats.org/officeDocument/2006/relationships/slideLayout" Target="../slideLayouts/slideLayout112.xml"/><Relationship Id="rId37" Type="http://schemas.openxmlformats.org/officeDocument/2006/relationships/slideLayout" Target="../slideLayouts/slideLayout117.xml"/><Relationship Id="rId40" Type="http://schemas.openxmlformats.org/officeDocument/2006/relationships/slideLayout" Target="../slideLayouts/slideLayout120.xml"/><Relationship Id="rId45" Type="http://schemas.openxmlformats.org/officeDocument/2006/relationships/slideLayout" Target="../slideLayouts/slideLayout125.xml"/><Relationship Id="rId5" Type="http://schemas.openxmlformats.org/officeDocument/2006/relationships/slideLayout" Target="../slideLayouts/slideLayout85.xml"/><Relationship Id="rId15" Type="http://schemas.openxmlformats.org/officeDocument/2006/relationships/slideLayout" Target="../slideLayouts/slideLayout95.xml"/><Relationship Id="rId23" Type="http://schemas.openxmlformats.org/officeDocument/2006/relationships/slideLayout" Target="../slideLayouts/slideLayout103.xml"/><Relationship Id="rId28" Type="http://schemas.openxmlformats.org/officeDocument/2006/relationships/slideLayout" Target="../slideLayouts/slideLayout108.xml"/><Relationship Id="rId36" Type="http://schemas.openxmlformats.org/officeDocument/2006/relationships/slideLayout" Target="../slideLayouts/slideLayout116.xml"/><Relationship Id="rId49" Type="http://schemas.openxmlformats.org/officeDocument/2006/relationships/slideLayout" Target="../slideLayouts/slideLayout129.xml"/><Relationship Id="rId10" Type="http://schemas.openxmlformats.org/officeDocument/2006/relationships/slideLayout" Target="../slideLayouts/slideLayout90.xml"/><Relationship Id="rId19" Type="http://schemas.openxmlformats.org/officeDocument/2006/relationships/slideLayout" Target="../slideLayouts/slideLayout99.xml"/><Relationship Id="rId31" Type="http://schemas.openxmlformats.org/officeDocument/2006/relationships/slideLayout" Target="../slideLayouts/slideLayout111.xml"/><Relationship Id="rId44" Type="http://schemas.openxmlformats.org/officeDocument/2006/relationships/slideLayout" Target="../slideLayouts/slideLayout124.xml"/><Relationship Id="rId52" Type="http://schemas.openxmlformats.org/officeDocument/2006/relationships/image" Target="../media/image1.emf"/><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slideLayout" Target="../slideLayouts/slideLayout94.xml"/><Relationship Id="rId22" Type="http://schemas.openxmlformats.org/officeDocument/2006/relationships/slideLayout" Target="../slideLayouts/slideLayout102.xml"/><Relationship Id="rId27" Type="http://schemas.openxmlformats.org/officeDocument/2006/relationships/slideLayout" Target="../slideLayouts/slideLayout107.xml"/><Relationship Id="rId30" Type="http://schemas.openxmlformats.org/officeDocument/2006/relationships/slideLayout" Target="../slideLayouts/slideLayout110.xml"/><Relationship Id="rId35" Type="http://schemas.openxmlformats.org/officeDocument/2006/relationships/slideLayout" Target="../slideLayouts/slideLayout115.xml"/><Relationship Id="rId43" Type="http://schemas.openxmlformats.org/officeDocument/2006/relationships/slideLayout" Target="../slideLayouts/slideLayout123.xml"/><Relationship Id="rId48" Type="http://schemas.openxmlformats.org/officeDocument/2006/relationships/slideLayout" Target="../slideLayouts/slideLayout128.xml"/><Relationship Id="rId8" Type="http://schemas.openxmlformats.org/officeDocument/2006/relationships/slideLayout" Target="../slideLayouts/slideLayout88.xml"/><Relationship Id="rId51" Type="http://schemas.openxmlformats.org/officeDocument/2006/relationships/theme" Target="../theme/theme3.xml"/><Relationship Id="rId3" Type="http://schemas.openxmlformats.org/officeDocument/2006/relationships/slideLayout" Target="../slideLayouts/slideLayout83.xml"/><Relationship Id="rId12" Type="http://schemas.openxmlformats.org/officeDocument/2006/relationships/slideLayout" Target="../slideLayouts/slideLayout92.xml"/><Relationship Id="rId17" Type="http://schemas.openxmlformats.org/officeDocument/2006/relationships/slideLayout" Target="../slideLayouts/slideLayout97.xml"/><Relationship Id="rId25" Type="http://schemas.openxmlformats.org/officeDocument/2006/relationships/slideLayout" Target="../slideLayouts/slideLayout105.xml"/><Relationship Id="rId33" Type="http://schemas.openxmlformats.org/officeDocument/2006/relationships/slideLayout" Target="../slideLayouts/slideLayout113.xml"/><Relationship Id="rId38" Type="http://schemas.openxmlformats.org/officeDocument/2006/relationships/slideLayout" Target="../slideLayouts/slideLayout118.xml"/><Relationship Id="rId46" Type="http://schemas.openxmlformats.org/officeDocument/2006/relationships/slideLayout" Target="../slideLayouts/slideLayout126.xml"/><Relationship Id="rId20" Type="http://schemas.openxmlformats.org/officeDocument/2006/relationships/slideLayout" Target="../slideLayouts/slideLayout100.xml"/><Relationship Id="rId41" Type="http://schemas.openxmlformats.org/officeDocument/2006/relationships/slideLayout" Target="../slideLayouts/slideLayout121.xml"/><Relationship Id="rId1" Type="http://schemas.openxmlformats.org/officeDocument/2006/relationships/slideLayout" Target="../slideLayouts/slideLayout81.xml"/><Relationship Id="rId6" Type="http://schemas.openxmlformats.org/officeDocument/2006/relationships/slideLayout" Target="../slideLayouts/slideLayout86.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43.xml"/><Relationship Id="rId18" Type="http://schemas.openxmlformats.org/officeDocument/2006/relationships/slideLayout" Target="../slideLayouts/slideLayout148.xml"/><Relationship Id="rId26" Type="http://schemas.openxmlformats.org/officeDocument/2006/relationships/slideLayout" Target="../slideLayouts/slideLayout156.xml"/><Relationship Id="rId39" Type="http://schemas.openxmlformats.org/officeDocument/2006/relationships/slideLayout" Target="../slideLayouts/slideLayout169.xml"/><Relationship Id="rId21" Type="http://schemas.openxmlformats.org/officeDocument/2006/relationships/slideLayout" Target="../slideLayouts/slideLayout151.xml"/><Relationship Id="rId34" Type="http://schemas.openxmlformats.org/officeDocument/2006/relationships/slideLayout" Target="../slideLayouts/slideLayout164.xml"/><Relationship Id="rId42" Type="http://schemas.openxmlformats.org/officeDocument/2006/relationships/slideLayout" Target="../slideLayouts/slideLayout172.xml"/><Relationship Id="rId47" Type="http://schemas.openxmlformats.org/officeDocument/2006/relationships/image" Target="../media/image1.emf"/><Relationship Id="rId7" Type="http://schemas.openxmlformats.org/officeDocument/2006/relationships/slideLayout" Target="../slideLayouts/slideLayout137.xml"/><Relationship Id="rId2" Type="http://schemas.openxmlformats.org/officeDocument/2006/relationships/slideLayout" Target="../slideLayouts/slideLayout132.xml"/><Relationship Id="rId16" Type="http://schemas.openxmlformats.org/officeDocument/2006/relationships/slideLayout" Target="../slideLayouts/slideLayout146.xml"/><Relationship Id="rId29" Type="http://schemas.openxmlformats.org/officeDocument/2006/relationships/slideLayout" Target="../slideLayouts/slideLayout159.xml"/><Relationship Id="rId1" Type="http://schemas.openxmlformats.org/officeDocument/2006/relationships/slideLayout" Target="../slideLayouts/slideLayout131.xml"/><Relationship Id="rId6" Type="http://schemas.openxmlformats.org/officeDocument/2006/relationships/slideLayout" Target="../slideLayouts/slideLayout136.xml"/><Relationship Id="rId11" Type="http://schemas.openxmlformats.org/officeDocument/2006/relationships/slideLayout" Target="../slideLayouts/slideLayout141.xml"/><Relationship Id="rId24" Type="http://schemas.openxmlformats.org/officeDocument/2006/relationships/slideLayout" Target="../slideLayouts/slideLayout154.xml"/><Relationship Id="rId32" Type="http://schemas.openxmlformats.org/officeDocument/2006/relationships/slideLayout" Target="../slideLayouts/slideLayout162.xml"/><Relationship Id="rId37" Type="http://schemas.openxmlformats.org/officeDocument/2006/relationships/slideLayout" Target="../slideLayouts/slideLayout167.xml"/><Relationship Id="rId40" Type="http://schemas.openxmlformats.org/officeDocument/2006/relationships/slideLayout" Target="../slideLayouts/slideLayout170.xml"/><Relationship Id="rId45" Type="http://schemas.openxmlformats.org/officeDocument/2006/relationships/slideLayout" Target="../slideLayouts/slideLayout175.xml"/><Relationship Id="rId5" Type="http://schemas.openxmlformats.org/officeDocument/2006/relationships/slideLayout" Target="../slideLayouts/slideLayout135.xml"/><Relationship Id="rId15" Type="http://schemas.openxmlformats.org/officeDocument/2006/relationships/slideLayout" Target="../slideLayouts/slideLayout145.xml"/><Relationship Id="rId23" Type="http://schemas.openxmlformats.org/officeDocument/2006/relationships/slideLayout" Target="../slideLayouts/slideLayout153.xml"/><Relationship Id="rId28" Type="http://schemas.openxmlformats.org/officeDocument/2006/relationships/slideLayout" Target="../slideLayouts/slideLayout158.xml"/><Relationship Id="rId36" Type="http://schemas.openxmlformats.org/officeDocument/2006/relationships/slideLayout" Target="../slideLayouts/slideLayout166.xml"/><Relationship Id="rId10" Type="http://schemas.openxmlformats.org/officeDocument/2006/relationships/slideLayout" Target="../slideLayouts/slideLayout140.xml"/><Relationship Id="rId19" Type="http://schemas.openxmlformats.org/officeDocument/2006/relationships/slideLayout" Target="../slideLayouts/slideLayout149.xml"/><Relationship Id="rId31" Type="http://schemas.openxmlformats.org/officeDocument/2006/relationships/slideLayout" Target="../slideLayouts/slideLayout161.xml"/><Relationship Id="rId44" Type="http://schemas.openxmlformats.org/officeDocument/2006/relationships/slideLayout" Target="../slideLayouts/slideLayout174.xml"/><Relationship Id="rId4" Type="http://schemas.openxmlformats.org/officeDocument/2006/relationships/slideLayout" Target="../slideLayouts/slideLayout134.xml"/><Relationship Id="rId9" Type="http://schemas.openxmlformats.org/officeDocument/2006/relationships/slideLayout" Target="../slideLayouts/slideLayout139.xml"/><Relationship Id="rId14" Type="http://schemas.openxmlformats.org/officeDocument/2006/relationships/slideLayout" Target="../slideLayouts/slideLayout144.xml"/><Relationship Id="rId22" Type="http://schemas.openxmlformats.org/officeDocument/2006/relationships/slideLayout" Target="../slideLayouts/slideLayout152.xml"/><Relationship Id="rId27" Type="http://schemas.openxmlformats.org/officeDocument/2006/relationships/slideLayout" Target="../slideLayouts/slideLayout157.xml"/><Relationship Id="rId30" Type="http://schemas.openxmlformats.org/officeDocument/2006/relationships/slideLayout" Target="../slideLayouts/slideLayout160.xml"/><Relationship Id="rId35" Type="http://schemas.openxmlformats.org/officeDocument/2006/relationships/slideLayout" Target="../slideLayouts/slideLayout165.xml"/><Relationship Id="rId43" Type="http://schemas.openxmlformats.org/officeDocument/2006/relationships/slideLayout" Target="../slideLayouts/slideLayout173.xml"/><Relationship Id="rId8" Type="http://schemas.openxmlformats.org/officeDocument/2006/relationships/slideLayout" Target="../slideLayouts/slideLayout138.xml"/><Relationship Id="rId3" Type="http://schemas.openxmlformats.org/officeDocument/2006/relationships/slideLayout" Target="../slideLayouts/slideLayout133.xml"/><Relationship Id="rId12" Type="http://schemas.openxmlformats.org/officeDocument/2006/relationships/slideLayout" Target="../slideLayouts/slideLayout142.xml"/><Relationship Id="rId17" Type="http://schemas.openxmlformats.org/officeDocument/2006/relationships/slideLayout" Target="../slideLayouts/slideLayout147.xml"/><Relationship Id="rId25" Type="http://schemas.openxmlformats.org/officeDocument/2006/relationships/slideLayout" Target="../slideLayouts/slideLayout155.xml"/><Relationship Id="rId33" Type="http://schemas.openxmlformats.org/officeDocument/2006/relationships/slideLayout" Target="../slideLayouts/slideLayout163.xml"/><Relationship Id="rId38" Type="http://schemas.openxmlformats.org/officeDocument/2006/relationships/slideLayout" Target="../slideLayouts/slideLayout168.xml"/><Relationship Id="rId46" Type="http://schemas.openxmlformats.org/officeDocument/2006/relationships/theme" Target="../theme/theme4.xml"/><Relationship Id="rId20" Type="http://schemas.openxmlformats.org/officeDocument/2006/relationships/slideLayout" Target="../slideLayouts/slideLayout150.xml"/><Relationship Id="rId41" Type="http://schemas.openxmlformats.org/officeDocument/2006/relationships/slideLayout" Target="../slideLayouts/slideLayout17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43088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26803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59"/>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632203212"/>
      </p:ext>
    </p:extLst>
  </p:cSld>
  <p:clrMap bg1="lt1" tx1="dk1" bg2="lt2" tx2="dk2" accent1="accent1" accent2="accent2" accent3="accent3" accent4="accent4" accent5="accent5" accent6="accent6" hlink="hlink" folHlink="folHlink"/>
  <p:sldLayoutIdLst>
    <p:sldLayoutId id="2147494397" r:id="rId1"/>
    <p:sldLayoutId id="2147494350" r:id="rId2"/>
    <p:sldLayoutId id="2147494351" r:id="rId3"/>
    <p:sldLayoutId id="2147494352" r:id="rId4"/>
    <p:sldLayoutId id="2147494353" r:id="rId5"/>
    <p:sldLayoutId id="2147494354" r:id="rId6"/>
    <p:sldLayoutId id="2147494355" r:id="rId7"/>
    <p:sldLayoutId id="2147494356" r:id="rId8"/>
    <p:sldLayoutId id="2147494357" r:id="rId9"/>
    <p:sldLayoutId id="2147494358" r:id="rId10"/>
    <p:sldLayoutId id="2147494359" r:id="rId11"/>
    <p:sldLayoutId id="2147494360" r:id="rId12"/>
    <p:sldLayoutId id="2147494361" r:id="rId13"/>
    <p:sldLayoutId id="2147494362" r:id="rId14"/>
    <p:sldLayoutId id="2147494363" r:id="rId15"/>
    <p:sldLayoutId id="2147494364" r:id="rId16"/>
    <p:sldLayoutId id="2147494365" r:id="rId17"/>
    <p:sldLayoutId id="2147494366" r:id="rId18"/>
    <p:sldLayoutId id="2147494367" r:id="rId19"/>
    <p:sldLayoutId id="2147494368" r:id="rId20"/>
    <p:sldLayoutId id="2147494369" r:id="rId21"/>
    <p:sldLayoutId id="2147494370" r:id="rId22"/>
    <p:sldLayoutId id="2147494371" r:id="rId23"/>
    <p:sldLayoutId id="2147494372" r:id="rId24"/>
    <p:sldLayoutId id="2147494373" r:id="rId25"/>
    <p:sldLayoutId id="2147494374" r:id="rId26"/>
    <p:sldLayoutId id="2147494375" r:id="rId27"/>
    <p:sldLayoutId id="2147494376" r:id="rId28"/>
    <p:sldLayoutId id="2147494377" r:id="rId29"/>
    <p:sldLayoutId id="2147494378" r:id="rId30"/>
    <p:sldLayoutId id="2147494379" r:id="rId31"/>
    <p:sldLayoutId id="2147494380" r:id="rId32"/>
    <p:sldLayoutId id="2147494381" r:id="rId33"/>
    <p:sldLayoutId id="2147494382" r:id="rId34"/>
    <p:sldLayoutId id="2147494383" r:id="rId35"/>
    <p:sldLayoutId id="2147494384" r:id="rId36"/>
    <p:sldLayoutId id="2147494385" r:id="rId37"/>
    <p:sldLayoutId id="2147494386" r:id="rId38"/>
    <p:sldLayoutId id="2147494387" r:id="rId39"/>
    <p:sldLayoutId id="2147494388" r:id="rId40"/>
    <p:sldLayoutId id="2147494389" r:id="rId41"/>
    <p:sldLayoutId id="2147494390" r:id="rId42"/>
    <p:sldLayoutId id="2147494391" r:id="rId43"/>
    <p:sldLayoutId id="2147494392" r:id="rId44"/>
    <p:sldLayoutId id="2147494393" r:id="rId45"/>
    <p:sldLayoutId id="2147494394" r:id="rId46"/>
    <p:sldLayoutId id="2147494395" r:id="rId47"/>
    <p:sldLayoutId id="2147494396" r:id="rId48"/>
    <p:sldLayoutId id="2147494400" r:id="rId49"/>
    <p:sldLayoutId id="2147494401" r:id="rId50"/>
    <p:sldLayoutId id="2147494402" r:id="rId51"/>
    <p:sldLayoutId id="2147494403" r:id="rId52"/>
    <p:sldLayoutId id="2147494405" r:id="rId53"/>
    <p:sldLayoutId id="2147494407" r:id="rId54"/>
    <p:sldLayoutId id="2147494293" r:id="rId55"/>
    <p:sldLayoutId id="2147494406" r:id="rId56"/>
    <p:sldLayoutId id="2147494462" r:id="rId57"/>
  </p:sldLayoutIdLst>
  <p:transition>
    <p:fade/>
  </p:transition>
  <p:hf sldNum="0" hdr="0" ftr="0" dt="0"/>
  <p:txStyles>
    <p:titleStyle>
      <a:lvl1pPr algn="l" defTabSz="932742" rtl="0" eaLnBrk="1" latinLnBrk="0" hangingPunct="1">
        <a:lnSpc>
          <a:spcPct val="100000"/>
        </a:lnSpc>
        <a:spcBef>
          <a:spcPct val="0"/>
        </a:spcBef>
        <a:buNone/>
        <a:defRPr lang="en-US" sz="28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1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1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DE4AFF7-0FFC-4B0D-8A49-37F0EF90CC34}"/>
              </a:ext>
            </a:extLst>
          </p:cNvPr>
          <p:cNvGraphicFramePr>
            <a:graphicFrameLocks noChangeAspect="1"/>
          </p:cNvGraphicFramePr>
          <p:nvPr>
            <p:custDataLst>
              <p:tags r:id="rId26"/>
            </p:custDataLst>
            <p:extLst>
              <p:ext uri="{D42A27DB-BD31-4B8C-83A1-F6EECF244321}">
                <p14:modId xmlns:p14="http://schemas.microsoft.com/office/powerpoint/2010/main" val="27244248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17" name="think-cell Slide" r:id="rId28" imgW="425" imgH="424" progId="TCLayout.ActiveDocument.1">
                  <p:embed/>
                </p:oleObj>
              </mc:Choice>
              <mc:Fallback>
                <p:oleObj name="think-cell Slide" r:id="rId28" imgW="425" imgH="424" progId="TCLayout.ActiveDocument.1">
                  <p:embed/>
                  <p:pic>
                    <p:nvPicPr>
                      <p:cNvPr id="5" name="Object 4" hidden="1">
                        <a:extLst>
                          <a:ext uri="{FF2B5EF4-FFF2-40B4-BE49-F238E27FC236}">
                            <a16:creationId xmlns:a16="http://schemas.microsoft.com/office/drawing/2014/main" id="{7DE4AFF7-0FFC-4B0D-8A49-37F0EF90CC34}"/>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9F7E766-6670-48AC-8F2B-CF42A6F426F4}"/>
              </a:ext>
            </a:extLst>
          </p:cNvPr>
          <p:cNvSpPr/>
          <p:nvPr>
            <p:custDataLst>
              <p:tags r:id="rId27"/>
            </p:custDataLst>
          </p:nvPr>
        </p:nvSpPr>
        <p:spPr bwMode="auto">
          <a:xfrm>
            <a:off x="0" y="0"/>
            <a:ext cx="158750" cy="158750"/>
          </a:xfrm>
          <a:prstGeom prst="rect">
            <a:avLst/>
          </a:prstGeom>
          <a:noFill/>
          <a:ln>
            <a:solidFill>
              <a:schemeClr val="bg2">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a:lnSpc>
                <a:spcPct val="107000"/>
              </a:lnSpc>
              <a:spcBef>
                <a:spcPts val="0"/>
              </a:spcBef>
              <a:spcAft>
                <a:spcPts val="800"/>
              </a:spcAft>
              <a:buFontTx/>
              <a:buNone/>
            </a:pPr>
            <a:endParaRPr lang="en-US" sz="3000" b="0" i="0" baseline="0">
              <a:solidFill>
                <a:schemeClr val="tx1"/>
              </a:solidFill>
              <a:effectLst/>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sp>
        <p:nvSpPr>
          <p:cNvPr id="2" name="Title Placeholder 1"/>
          <p:cNvSpPr>
            <a:spLocks noGrp="1"/>
          </p:cNvSpPr>
          <p:nvPr>
            <p:ph type="title"/>
          </p:nvPr>
        </p:nvSpPr>
        <p:spPr>
          <a:xfrm>
            <a:off x="426424" y="435824"/>
            <a:ext cx="11336039" cy="744014"/>
          </a:xfrm>
          <a:prstGeom prst="rect">
            <a:avLst/>
          </a:prstGeom>
        </p:spPr>
        <p:txBody>
          <a:bodyPr vert="horz" wrap="square" lIns="0" tIns="0" rIns="0" bIns="0" rtlCol="0" anchor="t">
            <a:noAutofit/>
          </a:bodyPr>
          <a:lstStyle/>
          <a:p>
            <a:pPr lvl="0"/>
            <a:r>
              <a:rPr lang="en-US"/>
              <a:t>Click to edit Master title style</a:t>
            </a:r>
          </a:p>
        </p:txBody>
      </p:sp>
      <p:sp>
        <p:nvSpPr>
          <p:cNvPr id="4" name="Text Placeholder 3"/>
          <p:cNvSpPr>
            <a:spLocks noGrp="1"/>
          </p:cNvSpPr>
          <p:nvPr>
            <p:ph type="body" idx="1"/>
          </p:nvPr>
        </p:nvSpPr>
        <p:spPr>
          <a:xfrm>
            <a:off x="437319" y="1460499"/>
            <a:ext cx="11336039" cy="5091113"/>
          </a:xfrm>
          <a:prstGeom prst="rect">
            <a:avLst/>
          </a:prstGeom>
        </p:spPr>
        <p:txBody>
          <a:bodyPr vert="horz" wrap="square"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16061083"/>
      </p:ext>
    </p:extLst>
  </p:cSld>
  <p:clrMap bg1="lt1" tx1="dk1" bg2="lt2" tx2="dk2" accent1="accent1" accent2="accent2" accent3="accent3" accent4="accent4" accent5="accent5" accent6="accent6" hlink="hlink" folHlink="folHlink"/>
  <p:sldLayoutIdLst>
    <p:sldLayoutId id="2147494464" r:id="rId1"/>
    <p:sldLayoutId id="2147494465" r:id="rId2"/>
    <p:sldLayoutId id="2147494466" r:id="rId3"/>
    <p:sldLayoutId id="2147494467" r:id="rId4"/>
    <p:sldLayoutId id="2147494468" r:id="rId5"/>
    <p:sldLayoutId id="2147494469" r:id="rId6"/>
    <p:sldLayoutId id="2147494470" r:id="rId7"/>
    <p:sldLayoutId id="2147494471" r:id="rId8"/>
    <p:sldLayoutId id="2147494472" r:id="rId9"/>
    <p:sldLayoutId id="2147494473" r:id="rId10"/>
    <p:sldLayoutId id="2147494474" r:id="rId11"/>
    <p:sldLayoutId id="2147494475" r:id="rId12"/>
    <p:sldLayoutId id="2147494476" r:id="rId13"/>
    <p:sldLayoutId id="2147494477" r:id="rId14"/>
    <p:sldLayoutId id="2147494478" r:id="rId15"/>
    <p:sldLayoutId id="2147494479" r:id="rId16"/>
    <p:sldLayoutId id="2147494480" r:id="rId17"/>
    <p:sldLayoutId id="2147494481" r:id="rId18"/>
    <p:sldLayoutId id="2147494482" r:id="rId19"/>
    <p:sldLayoutId id="2147494483" r:id="rId20"/>
    <p:sldLayoutId id="2147494484" r:id="rId21"/>
    <p:sldLayoutId id="2147494485" r:id="rId22"/>
    <p:sldLayoutId id="2147494486" r:id="rId23"/>
  </p:sldLayoutIdLst>
  <p:transition>
    <p:fade/>
  </p:transition>
  <p:txStyles>
    <p:titleStyle>
      <a:lvl1pPr algn="l" defTabSz="914367" rtl="0" eaLnBrk="1" latinLnBrk="0" hangingPunct="1">
        <a:lnSpc>
          <a:spcPct val="90000"/>
        </a:lnSpc>
        <a:spcBef>
          <a:spcPct val="0"/>
        </a:spcBef>
        <a:buNone/>
        <a:defRPr lang="en-US" sz="3000" b="0" kern="1200" cap="none" spc="0" baseline="0">
          <a:ln w="3175">
            <a:noFill/>
          </a:ln>
          <a:solidFill>
            <a:schemeClr val="accent2"/>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sz="2400" kern="1200" spc="0" baseline="0">
          <a:solidFill>
            <a:schemeClr val="tx1"/>
          </a:solidFill>
          <a:latin typeface="+mn-lt"/>
          <a:ea typeface="+mn-ea"/>
          <a:cs typeface="+mn-cs"/>
        </a:defRPr>
      </a:lvl1pPr>
      <a:lvl2pPr marL="224097"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3pPr>
      <a:lvl4pPr marL="67229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264">
          <p15:clr>
            <a:srgbClr val="F26B43"/>
          </p15:clr>
        </p15:guide>
        <p15:guide id="17" pos="7416">
          <p15:clr>
            <a:srgbClr val="F26B43"/>
          </p15:clr>
        </p15:guide>
        <p15:guide id="25" orient="horz" pos="280">
          <p15:clr>
            <a:srgbClr val="F26B43"/>
          </p15:clr>
        </p15:guide>
        <p15:guide id="26" orient="horz" pos="4127">
          <p15:clr>
            <a:srgbClr val="F26B43"/>
          </p15:clr>
        </p15:guide>
        <p15:guide id="31" orient="horz" pos="752">
          <p15:clr>
            <a:srgbClr val="F26B43"/>
          </p15:clr>
        </p15:guide>
        <p15:guide id="32" orient="horz" pos="92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52"/>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38375968"/>
      </p:ext>
    </p:extLst>
  </p:cSld>
  <p:clrMap bg1="lt1" tx1="dk1" bg2="lt2" tx2="dk2" accent1="accent1" accent2="accent2" accent3="accent3" accent4="accent4" accent5="accent5" accent6="accent6" hlink="hlink" folHlink="folHlink"/>
  <p:sldLayoutIdLst>
    <p:sldLayoutId id="2147494488" r:id="rId1"/>
    <p:sldLayoutId id="2147494489" r:id="rId2"/>
    <p:sldLayoutId id="2147494490" r:id="rId3"/>
    <p:sldLayoutId id="2147494491" r:id="rId4"/>
    <p:sldLayoutId id="2147494492" r:id="rId5"/>
    <p:sldLayoutId id="2147494493" r:id="rId6"/>
    <p:sldLayoutId id="2147494494" r:id="rId7"/>
    <p:sldLayoutId id="2147494495" r:id="rId8"/>
    <p:sldLayoutId id="2147494496" r:id="rId9"/>
    <p:sldLayoutId id="2147494497" r:id="rId10"/>
    <p:sldLayoutId id="2147494498" r:id="rId11"/>
    <p:sldLayoutId id="2147494499" r:id="rId12"/>
    <p:sldLayoutId id="2147494500" r:id="rId13"/>
    <p:sldLayoutId id="2147494501" r:id="rId14"/>
    <p:sldLayoutId id="2147494502" r:id="rId15"/>
    <p:sldLayoutId id="2147494503" r:id="rId16"/>
    <p:sldLayoutId id="2147494504" r:id="rId17"/>
    <p:sldLayoutId id="2147494505" r:id="rId18"/>
    <p:sldLayoutId id="2147494506" r:id="rId19"/>
    <p:sldLayoutId id="2147494507" r:id="rId20"/>
    <p:sldLayoutId id="2147494508" r:id="rId21"/>
    <p:sldLayoutId id="2147494509" r:id="rId22"/>
    <p:sldLayoutId id="2147494510" r:id="rId23"/>
    <p:sldLayoutId id="2147494511" r:id="rId24"/>
    <p:sldLayoutId id="2147494512" r:id="rId25"/>
    <p:sldLayoutId id="2147494513" r:id="rId26"/>
    <p:sldLayoutId id="2147494514" r:id="rId27"/>
    <p:sldLayoutId id="2147494515" r:id="rId28"/>
    <p:sldLayoutId id="2147494516" r:id="rId29"/>
    <p:sldLayoutId id="2147494517" r:id="rId30"/>
    <p:sldLayoutId id="2147494518" r:id="rId31"/>
    <p:sldLayoutId id="2147494519" r:id="rId32"/>
    <p:sldLayoutId id="2147494520" r:id="rId33"/>
    <p:sldLayoutId id="2147494521" r:id="rId34"/>
    <p:sldLayoutId id="2147494522" r:id="rId35"/>
    <p:sldLayoutId id="2147494523" r:id="rId36"/>
    <p:sldLayoutId id="2147494524" r:id="rId37"/>
    <p:sldLayoutId id="2147494525" r:id="rId38"/>
    <p:sldLayoutId id="2147494526" r:id="rId39"/>
    <p:sldLayoutId id="2147494527" r:id="rId40"/>
    <p:sldLayoutId id="2147494528" r:id="rId41"/>
    <p:sldLayoutId id="2147494529" r:id="rId42"/>
    <p:sldLayoutId id="2147494530" r:id="rId43"/>
    <p:sldLayoutId id="2147494531" r:id="rId44"/>
    <p:sldLayoutId id="2147494532" r:id="rId45"/>
    <p:sldLayoutId id="2147494533" r:id="rId46"/>
    <p:sldLayoutId id="2147494534" r:id="rId47"/>
    <p:sldLayoutId id="2147494535" r:id="rId48"/>
    <p:sldLayoutId id="2147494536" r:id="rId49"/>
    <p:sldLayoutId id="2147494537" r:id="rId5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blackWhite">
      <p:bgPr>
        <a:solidFill>
          <a:srgbClr val="F2F2F2"/>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43088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7"/>
          <a:srcRect l="762"/>
          <a:stretch/>
        </p:blipFill>
        <p:spPr>
          <a:xfrm rot="5400000">
            <a:off x="9449829" y="2843771"/>
            <a:ext cx="6857997" cy="1170455"/>
          </a:xfrm>
          <a:prstGeom prst="rect">
            <a:avLst/>
          </a:prstGeom>
        </p:spPr>
      </p:pic>
    </p:spTree>
    <p:extLst>
      <p:ext uri="{BB962C8B-B14F-4D97-AF65-F5344CB8AC3E}">
        <p14:creationId xmlns:p14="http://schemas.microsoft.com/office/powerpoint/2010/main" val="1451357874"/>
      </p:ext>
    </p:extLst>
  </p:cSld>
  <p:clrMap bg1="lt1" tx1="dk1" bg2="lt2" tx2="dk2" accent1="accent1" accent2="accent2" accent3="accent3" accent4="accent4" accent5="accent5" accent6="accent6" hlink="hlink" folHlink="folHlink"/>
  <p:sldLayoutIdLst>
    <p:sldLayoutId id="2147494539" r:id="rId1"/>
    <p:sldLayoutId id="2147494540" r:id="rId2"/>
    <p:sldLayoutId id="2147494541" r:id="rId3"/>
    <p:sldLayoutId id="2147494542" r:id="rId4"/>
    <p:sldLayoutId id="2147494543" r:id="rId5"/>
    <p:sldLayoutId id="2147494544" r:id="rId6"/>
    <p:sldLayoutId id="2147494545" r:id="rId7"/>
    <p:sldLayoutId id="2147494546" r:id="rId8"/>
    <p:sldLayoutId id="2147494547" r:id="rId9"/>
    <p:sldLayoutId id="2147494548" r:id="rId10"/>
    <p:sldLayoutId id="2147494549" r:id="rId11"/>
    <p:sldLayoutId id="2147494550" r:id="rId12"/>
    <p:sldLayoutId id="2147494551" r:id="rId13"/>
    <p:sldLayoutId id="2147494552" r:id="rId14"/>
    <p:sldLayoutId id="2147494553" r:id="rId15"/>
    <p:sldLayoutId id="2147494554" r:id="rId16"/>
    <p:sldLayoutId id="2147494555" r:id="rId17"/>
    <p:sldLayoutId id="2147494556" r:id="rId18"/>
    <p:sldLayoutId id="2147494557" r:id="rId19"/>
    <p:sldLayoutId id="2147494558" r:id="rId20"/>
    <p:sldLayoutId id="2147494559" r:id="rId21"/>
    <p:sldLayoutId id="2147494560" r:id="rId22"/>
    <p:sldLayoutId id="2147494561" r:id="rId23"/>
    <p:sldLayoutId id="2147494562" r:id="rId24"/>
    <p:sldLayoutId id="2147494563" r:id="rId25"/>
    <p:sldLayoutId id="2147494564" r:id="rId26"/>
    <p:sldLayoutId id="2147494565" r:id="rId27"/>
    <p:sldLayoutId id="2147494566" r:id="rId28"/>
    <p:sldLayoutId id="2147494567" r:id="rId29"/>
    <p:sldLayoutId id="2147494568" r:id="rId30"/>
    <p:sldLayoutId id="2147494569" r:id="rId31"/>
    <p:sldLayoutId id="2147494570" r:id="rId32"/>
    <p:sldLayoutId id="2147494571" r:id="rId33"/>
    <p:sldLayoutId id="2147494572" r:id="rId34"/>
    <p:sldLayoutId id="2147494573" r:id="rId35"/>
    <p:sldLayoutId id="2147494574" r:id="rId36"/>
    <p:sldLayoutId id="2147494575" r:id="rId37"/>
    <p:sldLayoutId id="2147494576" r:id="rId38"/>
    <p:sldLayoutId id="2147494577" r:id="rId39"/>
    <p:sldLayoutId id="2147494578" r:id="rId40"/>
    <p:sldLayoutId id="2147494579" r:id="rId41"/>
    <p:sldLayoutId id="2147494580" r:id="rId42"/>
    <p:sldLayoutId id="2147494581" r:id="rId43"/>
    <p:sldLayoutId id="2147494582" r:id="rId44"/>
    <p:sldLayoutId id="2147494583" r:id="rId45"/>
  </p:sldLayoutIdLst>
  <p:transition>
    <p:fade/>
  </p:transition>
  <p:hf sldNum="0" hdr="0" ftr="0" dt="0"/>
  <p:txStyles>
    <p:titleStyle>
      <a:lvl1pPr algn="l" defTabSz="932742" rtl="0" eaLnBrk="1" latinLnBrk="0" hangingPunct="1">
        <a:lnSpc>
          <a:spcPct val="100000"/>
        </a:lnSpc>
        <a:spcBef>
          <a:spcPct val="0"/>
        </a:spcBef>
        <a:buNone/>
        <a:defRPr lang="en-US" sz="28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xml"/><Relationship Id="rId1" Type="http://schemas.openxmlformats.org/officeDocument/2006/relationships/slideLayout" Target="../slideLayouts/slideLayout54.xml"/><Relationship Id="rId6" Type="http://schemas.openxmlformats.org/officeDocument/2006/relationships/image" Target="../media/image65.jpeg"/><Relationship Id="rId5" Type="http://schemas.openxmlformats.org/officeDocument/2006/relationships/image" Target="../media/image64.jpeg"/><Relationship Id="rId4" Type="http://schemas.openxmlformats.org/officeDocument/2006/relationships/image" Target="../media/image63.svg"/></Relationships>
</file>

<file path=ppt/slides/_rels/slide10.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10.xml"/><Relationship Id="rId1" Type="http://schemas.openxmlformats.org/officeDocument/2006/relationships/slideLayout" Target="../slideLayouts/slideLayout92.xml"/><Relationship Id="rId5" Type="http://schemas.openxmlformats.org/officeDocument/2006/relationships/image" Target="../media/image77.svg"/><Relationship Id="rId4" Type="http://schemas.openxmlformats.org/officeDocument/2006/relationships/image" Target="../media/image76.png"/></Relationships>
</file>

<file path=ppt/slides/_rels/slide11.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11.xml"/><Relationship Id="rId1" Type="http://schemas.openxmlformats.org/officeDocument/2006/relationships/slideLayout" Target="../slideLayouts/slideLayout92.xml"/><Relationship Id="rId5" Type="http://schemas.openxmlformats.org/officeDocument/2006/relationships/image" Target="../media/image77.svg"/><Relationship Id="rId4" Type="http://schemas.openxmlformats.org/officeDocument/2006/relationships/image" Target="../media/image76.png"/></Relationships>
</file>

<file path=ppt/slides/_rels/slide12.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80.xml"/></Relationships>
</file>

<file path=ppt/slides/_rels/slide13.xml.rels><?xml version="1.0" encoding="UTF-8" standalone="yes"?>
<Relationships xmlns="http://schemas.openxmlformats.org/package/2006/relationships"><Relationship Id="rId3" Type="http://schemas.microsoft.com/office/2018/10/relationships/comments" Target="../comments/modernComment_7FFFCC96_3CCF9F0F.xml"/><Relationship Id="rId7" Type="http://schemas.openxmlformats.org/officeDocument/2006/relationships/image" Target="../media/image107.jpeg"/><Relationship Id="rId2" Type="http://schemas.openxmlformats.org/officeDocument/2006/relationships/notesSlide" Target="../notesSlides/notesSlide12.xml"/><Relationship Id="rId1" Type="http://schemas.openxmlformats.org/officeDocument/2006/relationships/slideLayout" Target="../slideLayouts/slideLayout12.xml"/><Relationship Id="rId6" Type="http://schemas.openxmlformats.org/officeDocument/2006/relationships/image" Target="../media/image106.png"/><Relationship Id="rId5" Type="http://schemas.openxmlformats.org/officeDocument/2006/relationships/image" Target="../media/image34.png"/><Relationship Id="rId4" Type="http://schemas.openxmlformats.org/officeDocument/2006/relationships/image" Target="../media/image105.png"/></Relationships>
</file>

<file path=ppt/slides/_rels/slide14.xml.rels><?xml version="1.0" encoding="UTF-8" standalone="yes"?>
<Relationships xmlns="http://schemas.openxmlformats.org/package/2006/relationships"><Relationship Id="rId3" Type="http://schemas.microsoft.com/office/2018/10/relationships/comments" Target="../comments/modernComment_7FFFCC8D_9CCD340E.xml"/><Relationship Id="rId2" Type="http://schemas.openxmlformats.org/officeDocument/2006/relationships/notesSlide" Target="../notesSlides/notesSlide13.xml"/><Relationship Id="rId1" Type="http://schemas.openxmlformats.org/officeDocument/2006/relationships/slideLayout" Target="../slideLayouts/slideLayout12.xml"/><Relationship Id="rId5" Type="http://schemas.openxmlformats.org/officeDocument/2006/relationships/hyperlink" Target="https://aka.ms/vlgraphapidocumentation" TargetMode="External"/><Relationship Id="rId4" Type="http://schemas.openxmlformats.org/officeDocument/2006/relationships/image" Target="../media/image34.png"/></Relationships>
</file>

<file path=ppt/slides/_rels/slide15.xml.rels><?xml version="1.0" encoding="UTF-8" standalone="yes"?>
<Relationships xmlns="http://schemas.openxmlformats.org/package/2006/relationships"><Relationship Id="rId8" Type="http://schemas.openxmlformats.org/officeDocument/2006/relationships/hyperlink" Target="https://aka.ms/vlgraphapidocumentation" TargetMode="External"/><Relationship Id="rId13" Type="http://schemas.openxmlformats.org/officeDocument/2006/relationships/image" Target="../media/image110.jpeg"/><Relationship Id="rId3" Type="http://schemas.microsoft.com/office/2018/10/relationships/comments" Target="../comments/modernComment_7FFFCC94_7824A43E.xml"/><Relationship Id="rId7" Type="http://schemas.openxmlformats.org/officeDocument/2006/relationships/hyperlink" Target="https://aka.ms/vivalearningdocs" TargetMode="External"/><Relationship Id="rId12" Type="http://schemas.openxmlformats.org/officeDocument/2006/relationships/image" Target="../media/image109.svg"/><Relationship Id="rId2" Type="http://schemas.openxmlformats.org/officeDocument/2006/relationships/notesSlide" Target="../notesSlides/notesSlide14.xml"/><Relationship Id="rId1" Type="http://schemas.openxmlformats.org/officeDocument/2006/relationships/slideLayout" Target="../slideLayouts/slideLayout12.xml"/><Relationship Id="rId6" Type="http://schemas.openxmlformats.org/officeDocument/2006/relationships/hyperlink" Target="https://aka.ms/vivalearningadoption" TargetMode="External"/><Relationship Id="rId11" Type="http://schemas.openxmlformats.org/officeDocument/2006/relationships/image" Target="../media/image76.png"/><Relationship Id="rId5" Type="http://schemas.openxmlformats.org/officeDocument/2006/relationships/hyperlink" Target="https://aka.ms/vivalearningga" TargetMode="External"/><Relationship Id="rId10" Type="http://schemas.openxmlformats.org/officeDocument/2006/relationships/image" Target="../media/image108.png"/><Relationship Id="rId4" Type="http://schemas.openxmlformats.org/officeDocument/2006/relationships/hyperlink" Target="https://aka.ms/vivalearning" TargetMode="External"/><Relationship Id="rId9" Type="http://schemas.openxmlformats.org/officeDocument/2006/relationships/hyperlink" Target="https://aka.ms/Viva/Learning/PracticePage" TargetMode="External"/></Relationships>
</file>

<file path=ppt/slides/_rels/slide1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Layout" Target="../slideLayouts/slideLayout57.xml"/><Relationship Id="rId4" Type="http://schemas.openxmlformats.org/officeDocument/2006/relationships/image" Target="../media/image38.jpeg"/></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12.xml"/><Relationship Id="rId6" Type="http://schemas.openxmlformats.org/officeDocument/2006/relationships/image" Target="../media/image64.jpeg"/><Relationship Id="rId5" Type="http://schemas.openxmlformats.org/officeDocument/2006/relationships/image" Target="../media/image65.jpeg"/><Relationship Id="rId4" Type="http://schemas.openxmlformats.org/officeDocument/2006/relationships/image" Target="../media/image8.svg"/></Relationships>
</file>

<file path=ppt/slides/_rels/slide3.xml.rels><?xml version="1.0" encoding="UTF-8" standalone="yes"?>
<Relationships xmlns="http://schemas.openxmlformats.org/package/2006/relationships"><Relationship Id="rId8" Type="http://schemas.openxmlformats.org/officeDocument/2006/relationships/image" Target="../media/image71.png"/><Relationship Id="rId3" Type="http://schemas.openxmlformats.org/officeDocument/2006/relationships/image" Target="../media/image66.png"/><Relationship Id="rId7" Type="http://schemas.openxmlformats.org/officeDocument/2006/relationships/image" Target="../media/image70.png"/><Relationship Id="rId2" Type="http://schemas.openxmlformats.org/officeDocument/2006/relationships/notesSlide" Target="../notesSlides/notesSlide3.xml"/><Relationship Id="rId1" Type="http://schemas.openxmlformats.org/officeDocument/2006/relationships/slideLayout" Target="../slideLayouts/slideLayout65.xml"/><Relationship Id="rId6" Type="http://schemas.openxmlformats.org/officeDocument/2006/relationships/image" Target="../media/image69.png"/><Relationship Id="rId5" Type="http://schemas.openxmlformats.org/officeDocument/2006/relationships/image" Target="../media/image68.png"/><Relationship Id="rId4" Type="http://schemas.openxmlformats.org/officeDocument/2006/relationships/image" Target="../media/image67.svg"/><Relationship Id="rId9" Type="http://schemas.openxmlformats.org/officeDocument/2006/relationships/image" Target="../media/image72.png"/></Relationships>
</file>

<file path=ppt/slides/_rels/slide4.xml.rels><?xml version="1.0" encoding="UTF-8" standalone="yes"?>
<Relationships xmlns="http://schemas.openxmlformats.org/package/2006/relationships"><Relationship Id="rId8" Type="http://schemas.openxmlformats.org/officeDocument/2006/relationships/image" Target="../media/image76.png"/><Relationship Id="rId3" Type="http://schemas.openxmlformats.org/officeDocument/2006/relationships/slideLayout" Target="../slideLayouts/slideLayout65.xml"/><Relationship Id="rId7" Type="http://schemas.openxmlformats.org/officeDocument/2006/relationships/image" Target="../media/image75.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74.png"/><Relationship Id="rId5" Type="http://schemas.openxmlformats.org/officeDocument/2006/relationships/image" Target="../media/image73.png"/><Relationship Id="rId10" Type="http://schemas.openxmlformats.org/officeDocument/2006/relationships/image" Target="../media/image69.png"/><Relationship Id="rId4" Type="http://schemas.openxmlformats.org/officeDocument/2006/relationships/notesSlide" Target="../notesSlides/notesSlide4.xml"/><Relationship Id="rId9" Type="http://schemas.openxmlformats.org/officeDocument/2006/relationships/image" Target="../media/image77.svg"/></Relationships>
</file>

<file path=ppt/slides/_rels/slide5.xml.rels><?xml version="1.0" encoding="UTF-8" standalone="yes"?>
<Relationships xmlns="http://schemas.openxmlformats.org/package/2006/relationships"><Relationship Id="rId8" Type="http://schemas.openxmlformats.org/officeDocument/2006/relationships/image" Target="../media/image68.png"/><Relationship Id="rId13" Type="http://schemas.openxmlformats.org/officeDocument/2006/relationships/image" Target="../media/image83.png"/><Relationship Id="rId18" Type="http://schemas.openxmlformats.org/officeDocument/2006/relationships/image" Target="../media/image88.png"/><Relationship Id="rId3" Type="http://schemas.microsoft.com/office/2018/10/relationships/comments" Target="../comments/modernComment_7FFFC8D8_DCFA28E7.xml"/><Relationship Id="rId21" Type="http://schemas.openxmlformats.org/officeDocument/2006/relationships/image" Target="../media/image91.png"/><Relationship Id="rId7" Type="http://schemas.openxmlformats.org/officeDocument/2006/relationships/image" Target="../media/image79.png"/><Relationship Id="rId12" Type="http://schemas.openxmlformats.org/officeDocument/2006/relationships/image" Target="../media/image82.png"/><Relationship Id="rId17" Type="http://schemas.openxmlformats.org/officeDocument/2006/relationships/image" Target="../media/image87.png"/><Relationship Id="rId2" Type="http://schemas.openxmlformats.org/officeDocument/2006/relationships/notesSlide" Target="../notesSlides/notesSlide5.xml"/><Relationship Id="rId16" Type="http://schemas.openxmlformats.org/officeDocument/2006/relationships/image" Target="../media/image86.png"/><Relationship Id="rId20" Type="http://schemas.openxmlformats.org/officeDocument/2006/relationships/image" Target="../media/image90.png"/><Relationship Id="rId1" Type="http://schemas.openxmlformats.org/officeDocument/2006/relationships/slideLayout" Target="../slideLayouts/slideLayout65.xml"/><Relationship Id="rId6" Type="http://schemas.openxmlformats.org/officeDocument/2006/relationships/image" Target="../media/image78.gif"/><Relationship Id="rId11" Type="http://schemas.openxmlformats.org/officeDocument/2006/relationships/image" Target="../media/image81.jpeg"/><Relationship Id="rId24" Type="http://schemas.openxmlformats.org/officeDocument/2006/relationships/image" Target="../media/image94.png"/><Relationship Id="rId5" Type="http://schemas.openxmlformats.org/officeDocument/2006/relationships/image" Target="../media/image77.svg"/><Relationship Id="rId15" Type="http://schemas.openxmlformats.org/officeDocument/2006/relationships/image" Target="../media/image85.jpeg"/><Relationship Id="rId23" Type="http://schemas.openxmlformats.org/officeDocument/2006/relationships/image" Target="../media/image93.png"/><Relationship Id="rId10" Type="http://schemas.openxmlformats.org/officeDocument/2006/relationships/image" Target="../media/image80.png"/><Relationship Id="rId19" Type="http://schemas.openxmlformats.org/officeDocument/2006/relationships/image" Target="../media/image89.png"/><Relationship Id="rId4" Type="http://schemas.openxmlformats.org/officeDocument/2006/relationships/image" Target="../media/image76.png"/><Relationship Id="rId9" Type="http://schemas.openxmlformats.org/officeDocument/2006/relationships/image" Target="../media/image69.png"/><Relationship Id="rId14" Type="http://schemas.openxmlformats.org/officeDocument/2006/relationships/image" Target="../media/image84.png"/><Relationship Id="rId22" Type="http://schemas.openxmlformats.org/officeDocument/2006/relationships/image" Target="../media/image92.png"/></Relationships>
</file>

<file path=ppt/slides/_rels/slide6.xml.rels><?xml version="1.0" encoding="UTF-8" standalone="yes"?>
<Relationships xmlns="http://schemas.openxmlformats.org/package/2006/relationships"><Relationship Id="rId3" Type="http://schemas.microsoft.com/office/2018/10/relationships/comments" Target="../comments/modernComment_7FFFCC99_B52DF26F.xml"/><Relationship Id="rId2" Type="http://schemas.openxmlformats.org/officeDocument/2006/relationships/notesSlide" Target="../notesSlides/notesSlide6.xml"/><Relationship Id="rId1" Type="http://schemas.openxmlformats.org/officeDocument/2006/relationships/slideLayout" Target="../slideLayouts/slideLayout42.xml"/><Relationship Id="rId5" Type="http://schemas.openxmlformats.org/officeDocument/2006/relationships/image" Target="../media/image3.svg"/><Relationship Id="rId4" Type="http://schemas.openxmlformats.org/officeDocument/2006/relationships/image" Target="../media/image2.png"/></Relationships>
</file>

<file path=ppt/slides/_rels/slide7.xml.rels><?xml version="1.0" encoding="UTF-8" standalone="yes"?>
<Relationships xmlns="http://schemas.openxmlformats.org/package/2006/relationships"><Relationship Id="rId3" Type="http://schemas.microsoft.com/office/2018/10/relationships/comments" Target="../comments/modernComment_7FFFCC95_9C1F54D7.xml"/><Relationship Id="rId7" Type="http://schemas.openxmlformats.org/officeDocument/2006/relationships/image" Target="../media/image77.svg"/><Relationship Id="rId2" Type="http://schemas.openxmlformats.org/officeDocument/2006/relationships/notesSlide" Target="../notesSlides/notesSlide7.xml"/><Relationship Id="rId1" Type="http://schemas.openxmlformats.org/officeDocument/2006/relationships/slideLayout" Target="../slideLayouts/slideLayout92.xml"/><Relationship Id="rId6" Type="http://schemas.openxmlformats.org/officeDocument/2006/relationships/image" Target="../media/image76.png"/><Relationship Id="rId5" Type="http://schemas.openxmlformats.org/officeDocument/2006/relationships/image" Target="../media/image96.png"/><Relationship Id="rId4" Type="http://schemas.openxmlformats.org/officeDocument/2006/relationships/image" Target="../media/image95.jpeg"/></Relationships>
</file>

<file path=ppt/slides/_rels/slide8.xml.rels><?xml version="1.0" encoding="UTF-8" standalone="yes"?>
<Relationships xmlns="http://schemas.openxmlformats.org/package/2006/relationships"><Relationship Id="rId8" Type="http://schemas.openxmlformats.org/officeDocument/2006/relationships/image" Target="../media/image101.png"/><Relationship Id="rId3" Type="http://schemas.microsoft.com/office/2018/10/relationships/comments" Target="../comments/modernComment_7FFFCA2C_F9EBCC33.xml"/><Relationship Id="rId7" Type="http://schemas.openxmlformats.org/officeDocument/2006/relationships/image" Target="../media/image100.svg"/><Relationship Id="rId2" Type="http://schemas.openxmlformats.org/officeDocument/2006/relationships/notesSlide" Target="../notesSlides/notesSlide8.xml"/><Relationship Id="rId1" Type="http://schemas.openxmlformats.org/officeDocument/2006/relationships/slideLayout" Target="../slideLayouts/slideLayout92.xml"/><Relationship Id="rId6" Type="http://schemas.openxmlformats.org/officeDocument/2006/relationships/image" Target="../media/image99.png"/><Relationship Id="rId11" Type="http://schemas.openxmlformats.org/officeDocument/2006/relationships/image" Target="../media/image77.svg"/><Relationship Id="rId5" Type="http://schemas.openxmlformats.org/officeDocument/2006/relationships/image" Target="../media/image98.svg"/><Relationship Id="rId10" Type="http://schemas.openxmlformats.org/officeDocument/2006/relationships/image" Target="../media/image76.png"/><Relationship Id="rId4" Type="http://schemas.openxmlformats.org/officeDocument/2006/relationships/image" Target="../media/image97.png"/><Relationship Id="rId9" Type="http://schemas.openxmlformats.org/officeDocument/2006/relationships/image" Target="../media/image102.svg"/></Relationships>
</file>

<file path=ppt/slides/_rels/slide9.xml.rels><?xml version="1.0" encoding="UTF-8" standalone="yes"?>
<Relationships xmlns="http://schemas.openxmlformats.org/package/2006/relationships"><Relationship Id="rId3" Type="http://schemas.microsoft.com/office/2018/10/relationships/comments" Target="../comments/modernComment_7FFFCCCF_B143E068.xml"/><Relationship Id="rId2" Type="http://schemas.openxmlformats.org/officeDocument/2006/relationships/notesSlide" Target="../notesSlides/notesSlide9.xml"/><Relationship Id="rId1" Type="http://schemas.openxmlformats.org/officeDocument/2006/relationships/slideLayout" Target="../slideLayouts/slideLayout92.xml"/><Relationship Id="rId6" Type="http://schemas.openxmlformats.org/officeDocument/2006/relationships/image" Target="../media/image77.svg"/><Relationship Id="rId5" Type="http://schemas.openxmlformats.org/officeDocument/2006/relationships/image" Target="../media/image76.png"/><Relationship Id="rId4" Type="http://schemas.openxmlformats.org/officeDocument/2006/relationships/image" Target="../media/image95.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phic 5" descr="Viva graphic">
            <a:extLst>
              <a:ext uri="{FF2B5EF4-FFF2-40B4-BE49-F238E27FC236}">
                <a16:creationId xmlns:a16="http://schemas.microsoft.com/office/drawing/2014/main" id="{7E8C68AB-BE6C-4B14-86CF-F06BCACF018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bwMode="ltGray">
          <a:xfrm>
            <a:off x="5664860" y="-388779"/>
            <a:ext cx="10115882" cy="8356599"/>
          </a:xfrm>
          <a:prstGeom prst="rect">
            <a:avLst/>
          </a:prstGeom>
        </p:spPr>
      </p:pic>
      <p:pic>
        <p:nvPicPr>
          <p:cNvPr id="9" name="Picture 8">
            <a:extLst>
              <a:ext uri="{FF2B5EF4-FFF2-40B4-BE49-F238E27FC236}">
                <a16:creationId xmlns:a16="http://schemas.microsoft.com/office/drawing/2014/main" id="{E109B2A3-82C9-45ED-8385-762903018AF1}"/>
              </a:ext>
              <a:ext uri="{C183D7F6-B498-43B3-948B-1728B52AA6E4}">
                <adec:decorative xmlns:adec="http://schemas.microsoft.com/office/drawing/2017/decorative" val="1"/>
              </a:ext>
            </a:extLst>
          </p:cNvPr>
          <p:cNvPicPr>
            <a:picLocks noChangeAspect="1"/>
          </p:cNvPicPr>
          <p:nvPr/>
        </p:nvPicPr>
        <p:blipFill>
          <a:blip r:embed="rId5" cstate="hqprint">
            <a:extLst>
              <a:ext uri="{28A0092B-C50C-407E-A947-70E740481C1C}">
                <a14:useLocalDpi xmlns:a14="http://schemas.microsoft.com/office/drawing/2010/main" val="0"/>
              </a:ext>
            </a:extLst>
          </a:blip>
          <a:srcRect l="17379" r="17379"/>
          <a:stretch/>
        </p:blipFill>
        <p:spPr>
          <a:xfrm flipH="1">
            <a:off x="7943552" y="101729"/>
            <a:ext cx="2051427" cy="2051427"/>
          </a:xfrm>
          <a:prstGeom prst="ellipse">
            <a:avLst/>
          </a:prstGeom>
          <a:solidFill>
            <a:schemeClr val="bg1"/>
          </a:solidFill>
          <a:ln>
            <a:noFill/>
            <a:headEnd type="none" w="med" len="med"/>
            <a:tailEnd type="none" w="med" len="med"/>
          </a:ln>
          <a:effectLst>
            <a:outerShdw blurRad="190500" algn="ctr" rotWithShape="0">
              <a:prstClr val="black">
                <a:alpha val="10000"/>
              </a:prstClr>
            </a:outerShdw>
          </a:effectLst>
        </p:spPr>
      </p:pic>
      <p:sp>
        <p:nvSpPr>
          <p:cNvPr id="4" name="Title 3"/>
          <p:cNvSpPr>
            <a:spLocks noGrp="1"/>
          </p:cNvSpPr>
          <p:nvPr>
            <p:ph type="title"/>
          </p:nvPr>
        </p:nvSpPr>
        <p:spPr>
          <a:xfrm>
            <a:off x="584199" y="2610446"/>
            <a:ext cx="9880601" cy="923330"/>
          </a:xfrm>
        </p:spPr>
        <p:txBody>
          <a:bodyPr wrap="square"/>
          <a:lstStyle/>
          <a:p>
            <a:r>
              <a:rPr lang="en-US">
                <a:cs typeface="Segoe UI"/>
              </a:rPr>
              <a:t>Introduction to the Viva Learning extensibility</a:t>
            </a:r>
            <a:br>
              <a:rPr lang="en-US"/>
            </a:br>
            <a:r>
              <a:rPr lang="en-US" sz="2400">
                <a:latin typeface="+mn-lt"/>
                <a:cs typeface="Segoe UI"/>
              </a:rPr>
              <a:t>How to leverage the connectors to transform customers’ learning culture</a:t>
            </a:r>
            <a:endParaRPr lang="en-US">
              <a:latin typeface="+mn-lt"/>
              <a:cs typeface="Segoe UI"/>
            </a:endParaRPr>
          </a:p>
        </p:txBody>
      </p:sp>
      <p:sp>
        <p:nvSpPr>
          <p:cNvPr id="5" name="Text Placeholder 4"/>
          <p:cNvSpPr>
            <a:spLocks noGrp="1"/>
          </p:cNvSpPr>
          <p:nvPr>
            <p:ph type="body" sz="quarter" idx="12"/>
          </p:nvPr>
        </p:nvSpPr>
        <p:spPr>
          <a:xfrm>
            <a:off x="623022" y="3972529"/>
            <a:ext cx="5298440" cy="1969770"/>
          </a:xfrm>
        </p:spPr>
        <p:txBody>
          <a:bodyPr vert="horz" wrap="square" lIns="0" tIns="0" rIns="0" bIns="0" rtlCol="0" anchor="t">
            <a:spAutoFit/>
          </a:bodyPr>
          <a:lstStyle/>
          <a:p>
            <a:endParaRPr lang="en-US">
              <a:latin typeface="+mj-lt"/>
              <a:cs typeface="Segoe UI"/>
            </a:endParaRPr>
          </a:p>
          <a:p>
            <a:r>
              <a:rPr lang="en-US">
                <a:latin typeface="+mj-lt"/>
                <a:cs typeface="Segoe UI"/>
              </a:rPr>
              <a:t>Divyanka Malik</a:t>
            </a:r>
          </a:p>
          <a:p>
            <a:r>
              <a:rPr lang="en-US">
                <a:cs typeface="Segoe UI"/>
              </a:rPr>
              <a:t>Product Manager, Microsoft Viva Learning</a:t>
            </a:r>
          </a:p>
          <a:p>
            <a:endParaRPr lang="en-US">
              <a:latin typeface="Segoe UI Semibold"/>
              <a:cs typeface="Segoe UI"/>
            </a:endParaRPr>
          </a:p>
          <a:p>
            <a:r>
              <a:rPr lang="en-US">
                <a:latin typeface="+mj-lt"/>
                <a:cs typeface="Segoe UI"/>
              </a:rPr>
              <a:t>Geeta Ramakrishnan</a:t>
            </a:r>
          </a:p>
          <a:p>
            <a:r>
              <a:rPr lang="en-US">
                <a:cs typeface="Segoe UI"/>
              </a:rPr>
              <a:t>Sr. Product Marketing Manager, Microsoft Viva</a:t>
            </a:r>
          </a:p>
          <a:p>
            <a:endParaRPr lang="en-US">
              <a:cs typeface="Segoe UI"/>
            </a:endParaRPr>
          </a:p>
          <a:p>
            <a:endParaRPr lang="en-US"/>
          </a:p>
        </p:txBody>
      </p:sp>
      <p:pic>
        <p:nvPicPr>
          <p:cNvPr id="7" name="Picture 6">
            <a:extLst>
              <a:ext uri="{FF2B5EF4-FFF2-40B4-BE49-F238E27FC236}">
                <a16:creationId xmlns:a16="http://schemas.microsoft.com/office/drawing/2014/main" id="{EF25DEA4-278B-4FDD-BA76-BF4465B53E8D}"/>
              </a:ext>
              <a:ext uri="{C183D7F6-B498-43B3-948B-1728B52AA6E4}">
                <adec:decorative xmlns:adec="http://schemas.microsoft.com/office/drawing/2017/decorative" val="1"/>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8461792" y="4900232"/>
            <a:ext cx="2485608" cy="2485608"/>
          </a:xfrm>
          <a:prstGeom prst="ellipse">
            <a:avLst/>
          </a:prstGeom>
          <a:effectLst>
            <a:outerShdw blurRad="482600" dist="127000" dir="2700000" sx="101000" sy="101000" algn="ctr" rotWithShape="0">
              <a:prstClr val="black">
                <a:alpha val="29000"/>
              </a:prstClr>
            </a:outerShdw>
          </a:effectLst>
        </p:spPr>
      </p:pic>
    </p:spTree>
    <p:extLst>
      <p:ext uri="{BB962C8B-B14F-4D97-AF65-F5344CB8AC3E}">
        <p14:creationId xmlns:p14="http://schemas.microsoft.com/office/powerpoint/2010/main" val="2965558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C498C3F-26B8-4B0A-AED1-8BB808886138}"/>
              </a:ext>
            </a:extLst>
          </p:cNvPr>
          <p:cNvSpPr>
            <a:spLocks noGrp="1"/>
          </p:cNvSpPr>
          <p:nvPr>
            <p:ph type="title"/>
          </p:nvPr>
        </p:nvSpPr>
        <p:spPr>
          <a:xfrm>
            <a:off x="588262" y="236642"/>
            <a:ext cx="11018520" cy="553998"/>
          </a:xfrm>
        </p:spPr>
        <p:txBody>
          <a:bodyPr>
            <a:normAutofit/>
          </a:bodyPr>
          <a:lstStyle/>
          <a:p>
            <a:r>
              <a:rPr lang="en-US" sz="3600">
                <a:solidFill>
                  <a:srgbClr val="107C10"/>
                </a:solidFill>
                <a:latin typeface="Segoe UI Semibold"/>
              </a:rPr>
              <a:t>Learner Assignments in Viva Learning</a:t>
            </a:r>
            <a:endParaRPr lang="en-US" sz="3600">
              <a:solidFill>
                <a:srgbClr val="107C10"/>
              </a:solidFill>
              <a:latin typeface="Segoe UI Semibold"/>
              <a:cs typeface="Segoe UI Semibold"/>
            </a:endParaRPr>
          </a:p>
        </p:txBody>
      </p:sp>
      <p:pic>
        <p:nvPicPr>
          <p:cNvPr id="2" name="Picture 6" descr="Graphical user interface, website&#10;&#10;Description automatically generated">
            <a:extLst>
              <a:ext uri="{FF2B5EF4-FFF2-40B4-BE49-F238E27FC236}">
                <a16:creationId xmlns:a16="http://schemas.microsoft.com/office/drawing/2014/main" id="{32DBB5B3-732C-7FFD-ECD8-2F895B8A74B9}"/>
              </a:ext>
            </a:extLst>
          </p:cNvPr>
          <p:cNvPicPr>
            <a:picLocks noChangeAspect="1"/>
          </p:cNvPicPr>
          <p:nvPr/>
        </p:nvPicPr>
        <p:blipFill>
          <a:blip r:embed="rId3"/>
          <a:stretch>
            <a:fillRect/>
          </a:stretch>
        </p:blipFill>
        <p:spPr>
          <a:xfrm>
            <a:off x="588262" y="900739"/>
            <a:ext cx="10214524" cy="5751650"/>
          </a:xfrm>
          <a:prstGeom prst="rect">
            <a:avLst/>
          </a:prstGeom>
        </p:spPr>
      </p:pic>
      <p:pic>
        <p:nvPicPr>
          <p:cNvPr id="4" name="Graphic 3">
            <a:extLst>
              <a:ext uri="{FF2B5EF4-FFF2-40B4-BE49-F238E27FC236}">
                <a16:creationId xmlns:a16="http://schemas.microsoft.com/office/drawing/2014/main" id="{BFA53472-0398-9C64-72B7-087903CBA44C}"/>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019489" y="325133"/>
            <a:ext cx="1043903" cy="861775"/>
          </a:xfrm>
          <a:prstGeom prst="rect">
            <a:avLst/>
          </a:prstGeom>
        </p:spPr>
      </p:pic>
    </p:spTree>
    <p:extLst>
      <p:ext uri="{BB962C8B-B14F-4D97-AF65-F5344CB8AC3E}">
        <p14:creationId xmlns:p14="http://schemas.microsoft.com/office/powerpoint/2010/main" val="2125749972"/>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C498C3F-26B8-4B0A-AED1-8BB808886138}"/>
              </a:ext>
            </a:extLst>
          </p:cNvPr>
          <p:cNvSpPr>
            <a:spLocks noGrp="1"/>
          </p:cNvSpPr>
          <p:nvPr>
            <p:ph type="title"/>
          </p:nvPr>
        </p:nvSpPr>
        <p:spPr>
          <a:xfrm>
            <a:off x="588262" y="236642"/>
            <a:ext cx="11018520" cy="553998"/>
          </a:xfrm>
        </p:spPr>
        <p:txBody>
          <a:bodyPr>
            <a:normAutofit/>
          </a:bodyPr>
          <a:lstStyle/>
          <a:p>
            <a:r>
              <a:rPr lang="en-US" sz="3600">
                <a:solidFill>
                  <a:srgbClr val="107C10"/>
                </a:solidFill>
                <a:latin typeface="Segoe UI Semibold"/>
                <a:cs typeface="Segoe UI Semibold"/>
              </a:rPr>
              <a:t>Learner completed courses in Viva Learning</a:t>
            </a:r>
          </a:p>
        </p:txBody>
      </p:sp>
      <p:pic>
        <p:nvPicPr>
          <p:cNvPr id="4" name="Picture 13" descr="Graphical user interface, website&#10;&#10;Description automatically generated">
            <a:extLst>
              <a:ext uri="{FF2B5EF4-FFF2-40B4-BE49-F238E27FC236}">
                <a16:creationId xmlns:a16="http://schemas.microsoft.com/office/drawing/2014/main" id="{3E687BC6-59A9-D805-91EB-04C12D1F0CE6}"/>
              </a:ext>
            </a:extLst>
          </p:cNvPr>
          <p:cNvPicPr>
            <a:picLocks noChangeAspect="1"/>
          </p:cNvPicPr>
          <p:nvPr/>
        </p:nvPicPr>
        <p:blipFill>
          <a:blip r:embed="rId3"/>
          <a:stretch>
            <a:fillRect/>
          </a:stretch>
        </p:blipFill>
        <p:spPr>
          <a:xfrm>
            <a:off x="588262" y="901627"/>
            <a:ext cx="10219119" cy="5746780"/>
          </a:xfrm>
          <a:prstGeom prst="rect">
            <a:avLst/>
          </a:prstGeom>
        </p:spPr>
      </p:pic>
      <p:pic>
        <p:nvPicPr>
          <p:cNvPr id="2" name="Graphic 1">
            <a:extLst>
              <a:ext uri="{FF2B5EF4-FFF2-40B4-BE49-F238E27FC236}">
                <a16:creationId xmlns:a16="http://schemas.microsoft.com/office/drawing/2014/main" id="{F8FBB317-4720-88D4-1D5D-5BF984B67DE2}"/>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019489" y="325133"/>
            <a:ext cx="1043903" cy="861775"/>
          </a:xfrm>
          <a:prstGeom prst="rect">
            <a:avLst/>
          </a:prstGeom>
        </p:spPr>
      </p:pic>
    </p:spTree>
    <p:extLst>
      <p:ext uri="{BB962C8B-B14F-4D97-AF65-F5344CB8AC3E}">
        <p14:creationId xmlns:p14="http://schemas.microsoft.com/office/powerpoint/2010/main" val="1253056247"/>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2962346-9062-4984-1307-2EEFF0FC3E1F}"/>
              </a:ext>
            </a:extLst>
          </p:cNvPr>
          <p:cNvSpPr txBox="1"/>
          <p:nvPr/>
        </p:nvSpPr>
        <p:spPr>
          <a:xfrm>
            <a:off x="971550" y="2084641"/>
            <a:ext cx="8267700" cy="738664"/>
          </a:xfrm>
          <a:prstGeom prst="rect">
            <a:avLst/>
          </a:prstGeom>
          <a:noFill/>
        </p:spPr>
        <p:txBody>
          <a:bodyPr wrap="square" lIns="182880" tIns="146304" rIns="182880" bIns="146304" rtlCol="0">
            <a:spAutoFit/>
          </a:bodyPr>
          <a:lstStyle/>
          <a:p>
            <a:pPr>
              <a:lnSpc>
                <a:spcPct val="90000"/>
              </a:lnSpc>
              <a:spcAft>
                <a:spcPts val="600"/>
              </a:spcAft>
            </a:pPr>
            <a:r>
              <a:rPr lang="en-US" sz="3200">
                <a:solidFill>
                  <a:schemeClr val="bg1"/>
                </a:solidFill>
                <a:latin typeface="+mj-lt"/>
              </a:rPr>
              <a:t>Announcing: Content Sync Graph APIs</a:t>
            </a:r>
          </a:p>
        </p:txBody>
      </p:sp>
      <p:sp>
        <p:nvSpPr>
          <p:cNvPr id="4" name="TextBox 3">
            <a:extLst>
              <a:ext uri="{FF2B5EF4-FFF2-40B4-BE49-F238E27FC236}">
                <a16:creationId xmlns:a16="http://schemas.microsoft.com/office/drawing/2014/main" id="{DF342190-F6A2-4C47-6098-7D21ACC03280}"/>
              </a:ext>
            </a:extLst>
          </p:cNvPr>
          <p:cNvSpPr txBox="1"/>
          <p:nvPr/>
        </p:nvSpPr>
        <p:spPr>
          <a:xfrm>
            <a:off x="971550" y="2728055"/>
            <a:ext cx="8410575" cy="960263"/>
          </a:xfrm>
          <a:prstGeom prst="rect">
            <a:avLst/>
          </a:prstGeom>
          <a:noFill/>
        </p:spPr>
        <p:txBody>
          <a:bodyPr wrap="square" lIns="182880" tIns="146304" rIns="182880" bIns="146304" rtlCol="0">
            <a:spAutoFit/>
          </a:bodyPr>
          <a:lstStyle/>
          <a:p>
            <a:pPr>
              <a:lnSpc>
                <a:spcPct val="90000"/>
              </a:lnSpc>
              <a:spcAft>
                <a:spcPts val="600"/>
              </a:spcAft>
            </a:pPr>
            <a:r>
              <a:rPr lang="en-US" sz="4800">
                <a:solidFill>
                  <a:schemeClr val="bg1"/>
                </a:solidFill>
                <a:latin typeface="+mj-lt"/>
              </a:rPr>
              <a:t>Now in Public Preview</a:t>
            </a:r>
          </a:p>
        </p:txBody>
      </p:sp>
      <p:pic>
        <p:nvPicPr>
          <p:cNvPr id="9" name="Picture 8" descr="Logo&#10;&#10;Description automatically generated">
            <a:extLst>
              <a:ext uri="{FF2B5EF4-FFF2-40B4-BE49-F238E27FC236}">
                <a16:creationId xmlns:a16="http://schemas.microsoft.com/office/drawing/2014/main" id="{BFAA7982-8E7A-E8DF-1D20-AFC6C9A93BBD}"/>
              </a:ext>
            </a:extLst>
          </p:cNvPr>
          <p:cNvPicPr>
            <a:picLocks noChangeAspect="1"/>
          </p:cNvPicPr>
          <p:nvPr/>
        </p:nvPicPr>
        <p:blipFill>
          <a:blip r:embed="rId2"/>
          <a:stretch>
            <a:fillRect/>
          </a:stretch>
        </p:blipFill>
        <p:spPr>
          <a:xfrm rot="738417">
            <a:off x="8533546" y="3246286"/>
            <a:ext cx="2544029" cy="2544029"/>
          </a:xfrm>
          <a:prstGeom prst="rect">
            <a:avLst/>
          </a:prstGeom>
        </p:spPr>
      </p:pic>
    </p:spTree>
    <p:extLst>
      <p:ext uri="{BB962C8B-B14F-4D97-AF65-F5344CB8AC3E}">
        <p14:creationId xmlns:p14="http://schemas.microsoft.com/office/powerpoint/2010/main" val="201230170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96298412-59F8-4925-98AE-D2DEF2A6E22B}"/>
              </a:ext>
              <a:ext uri="{C183D7F6-B498-43B3-948B-1728B52AA6E4}">
                <adec:decorative xmlns:adec="http://schemas.microsoft.com/office/drawing/2017/decorative" val="1"/>
              </a:ext>
            </a:extLst>
          </p:cNvPr>
          <p:cNvSpPr/>
          <p:nvPr/>
        </p:nvSpPr>
        <p:spPr bwMode="auto">
          <a:xfrm>
            <a:off x="0" y="1"/>
            <a:ext cx="12191997" cy="68580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pic>
        <p:nvPicPr>
          <p:cNvPr id="37" name="Picture 36">
            <a:extLst>
              <a:ext uri="{FF2B5EF4-FFF2-40B4-BE49-F238E27FC236}">
                <a16:creationId xmlns:a16="http://schemas.microsoft.com/office/drawing/2014/main" id="{BB19FF48-1778-4544-B8E3-D0AB265C468E}"/>
              </a:ext>
              <a:ext uri="{C183D7F6-B498-43B3-948B-1728B52AA6E4}">
                <adec:decorative xmlns:adec="http://schemas.microsoft.com/office/drawing/2017/decorative" val="1"/>
              </a:ext>
            </a:extLst>
          </p:cNvPr>
          <p:cNvPicPr>
            <a:picLocks noChangeAspect="1"/>
          </p:cNvPicPr>
          <p:nvPr/>
        </p:nvPicPr>
        <p:blipFill rotWithShape="1">
          <a:blip r:embed="rId4">
            <a:alphaModFix amt="50000"/>
            <a:extLst>
              <a:ext uri="{28A0092B-C50C-407E-A947-70E740481C1C}">
                <a14:useLocalDpi xmlns:a14="http://schemas.microsoft.com/office/drawing/2010/main" val="0"/>
              </a:ext>
            </a:extLst>
          </a:blip>
          <a:srcRect l="1" t="5000" r="1" b="5000"/>
          <a:stretch/>
        </p:blipFill>
        <p:spPr>
          <a:xfrm>
            <a:off x="0" y="0"/>
            <a:ext cx="12192000" cy="6858000"/>
          </a:xfrm>
          <a:prstGeom prst="rect">
            <a:avLst/>
          </a:prstGeom>
        </p:spPr>
      </p:pic>
      <p:pic>
        <p:nvPicPr>
          <p:cNvPr id="16" name="Picture 15">
            <a:extLst>
              <a:ext uri="{FF2B5EF4-FFF2-40B4-BE49-F238E27FC236}">
                <a16:creationId xmlns:a16="http://schemas.microsoft.com/office/drawing/2014/main" id="{18C25404-DE2D-4999-A311-BD00CB29142C}"/>
              </a:ext>
              <a:ext uri="{C183D7F6-B498-43B3-948B-1728B52AA6E4}">
                <adec:decorative xmlns:adec="http://schemas.microsoft.com/office/drawing/2017/decorative" val="1"/>
              </a:ext>
            </a:extLst>
          </p:cNvPr>
          <p:cNvPicPr>
            <a:picLocks noChangeAspect="1"/>
          </p:cNvPicPr>
          <p:nvPr/>
        </p:nvPicPr>
        <p:blipFill rotWithShape="1">
          <a:blip r:embed="rId5"/>
          <a:srcRect t="14576" r="41241" b="29691"/>
          <a:stretch/>
        </p:blipFill>
        <p:spPr>
          <a:xfrm>
            <a:off x="4148046" y="0"/>
            <a:ext cx="8069301" cy="6858001"/>
          </a:xfrm>
          <a:prstGeom prst="rect">
            <a:avLst/>
          </a:prstGeom>
        </p:spPr>
      </p:pic>
      <p:sp>
        <p:nvSpPr>
          <p:cNvPr id="4" name="Title 3">
            <a:extLst>
              <a:ext uri="{FF2B5EF4-FFF2-40B4-BE49-F238E27FC236}">
                <a16:creationId xmlns:a16="http://schemas.microsoft.com/office/drawing/2014/main" id="{760FA306-90AD-414C-BFFA-C9913B8DEDD2}"/>
              </a:ext>
            </a:extLst>
          </p:cNvPr>
          <p:cNvSpPr>
            <a:spLocks noGrp="1"/>
          </p:cNvSpPr>
          <p:nvPr>
            <p:ph type="title"/>
          </p:nvPr>
        </p:nvSpPr>
        <p:spPr/>
        <p:txBody>
          <a:bodyPr lIns="0" tIns="0" rIns="0" bIns="0">
            <a:noAutofit/>
          </a:bodyPr>
          <a:lstStyle/>
          <a:p>
            <a:r>
              <a:rPr lang="en-US" sz="2800">
                <a:latin typeface="Segoe UI Semibold" panose="020B0702040204020203" pitchFamily="34" charset="0"/>
                <a:cs typeface="Segoe UI Semibold" panose="020B0702040204020203" pitchFamily="34" charset="0"/>
              </a:rPr>
              <a:t>Viva Learning Graph APIs</a:t>
            </a:r>
            <a:endParaRPr lang="en-US" sz="2800">
              <a:solidFill>
                <a:schemeClr val="accent1"/>
              </a:solidFill>
              <a:latin typeface="Segoe UI Semibold" panose="020B0702040204020203" pitchFamily="34" charset="0"/>
              <a:cs typeface="Segoe UI Semibold" panose="020B0702040204020203" pitchFamily="34" charset="0"/>
            </a:endParaRPr>
          </a:p>
        </p:txBody>
      </p:sp>
      <p:sp>
        <p:nvSpPr>
          <p:cNvPr id="5" name="TextBox 4">
            <a:extLst>
              <a:ext uri="{FF2B5EF4-FFF2-40B4-BE49-F238E27FC236}">
                <a16:creationId xmlns:a16="http://schemas.microsoft.com/office/drawing/2014/main" id="{9C22B3F6-A5FA-47CA-8737-B6574A4CE719}"/>
              </a:ext>
            </a:extLst>
          </p:cNvPr>
          <p:cNvSpPr txBox="1"/>
          <p:nvPr/>
        </p:nvSpPr>
        <p:spPr>
          <a:xfrm>
            <a:off x="613490" y="888087"/>
            <a:ext cx="3509206" cy="307777"/>
          </a:xfrm>
          <a:prstGeom prst="rect">
            <a:avLst/>
          </a:prstGeom>
          <a:noFill/>
        </p:spPr>
        <p:txBody>
          <a:bodyPr wrap="square" lIns="0" tIns="0" rIns="0" bIns="0" rtlCol="0">
            <a:spAutoFit/>
          </a:bodyPr>
          <a:lstStyle/>
          <a:p>
            <a:pPr algn="l"/>
            <a:r>
              <a:rPr lang="en-US" sz="2000" b="1">
                <a:solidFill>
                  <a:schemeClr val="accent1"/>
                </a:solidFill>
              </a:rPr>
              <a:t>Now in Public Preview</a:t>
            </a:r>
          </a:p>
        </p:txBody>
      </p:sp>
      <p:sp>
        <p:nvSpPr>
          <p:cNvPr id="77" name="Rectangle: Rounded Corners 76">
            <a:extLst>
              <a:ext uri="{FF2B5EF4-FFF2-40B4-BE49-F238E27FC236}">
                <a16:creationId xmlns:a16="http://schemas.microsoft.com/office/drawing/2014/main" id="{E5E93DAF-62B3-48F6-9246-8BF5D3ACAA13}"/>
              </a:ext>
              <a:ext uri="{C183D7F6-B498-43B3-948B-1728B52AA6E4}">
                <adec:decorative xmlns:adec="http://schemas.microsoft.com/office/drawing/2017/decorative" val="1"/>
              </a:ext>
            </a:extLst>
          </p:cNvPr>
          <p:cNvSpPr/>
          <p:nvPr/>
        </p:nvSpPr>
        <p:spPr bwMode="auto">
          <a:xfrm>
            <a:off x="613490" y="1839243"/>
            <a:ext cx="9561642" cy="3063263"/>
          </a:xfrm>
          <a:prstGeom prst="roundRect">
            <a:avLst>
              <a:gd name="adj" fmla="val 6048"/>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cs typeface="Segoe UI" pitchFamily="34" charset="0"/>
            </a:endParaRPr>
          </a:p>
        </p:txBody>
      </p:sp>
      <p:sp>
        <p:nvSpPr>
          <p:cNvPr id="85" name="Rectangle: Rounded Corners 84">
            <a:extLst>
              <a:ext uri="{FF2B5EF4-FFF2-40B4-BE49-F238E27FC236}">
                <a16:creationId xmlns:a16="http://schemas.microsoft.com/office/drawing/2014/main" id="{6D515DCD-1627-4587-B37C-3194DAC36C76}"/>
              </a:ext>
              <a:ext uri="{C183D7F6-B498-43B3-948B-1728B52AA6E4}">
                <adec:decorative xmlns:adec="http://schemas.microsoft.com/office/drawing/2017/decorative" val="1"/>
              </a:ext>
            </a:extLst>
          </p:cNvPr>
          <p:cNvSpPr/>
          <p:nvPr/>
        </p:nvSpPr>
        <p:spPr bwMode="auto">
          <a:xfrm>
            <a:off x="1172951" y="2341954"/>
            <a:ext cx="4751193" cy="313651"/>
          </a:xfrm>
          <a:prstGeom prst="roundRect">
            <a:avLst>
              <a:gd name="adj" fmla="val 50000"/>
            </a:avLst>
          </a:prstGeom>
          <a:solidFill>
            <a:srgbClr val="0099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1" name="TextBox 30">
            <a:extLst>
              <a:ext uri="{FF2B5EF4-FFF2-40B4-BE49-F238E27FC236}">
                <a16:creationId xmlns:a16="http://schemas.microsoft.com/office/drawing/2014/main" id="{17879084-06B3-4B34-8375-813C0C88E9D9}"/>
              </a:ext>
            </a:extLst>
          </p:cNvPr>
          <p:cNvSpPr txBox="1"/>
          <p:nvPr/>
        </p:nvSpPr>
        <p:spPr>
          <a:xfrm>
            <a:off x="1211299" y="2306287"/>
            <a:ext cx="3701169" cy="2178930"/>
          </a:xfrm>
          <a:prstGeom prst="rect">
            <a:avLst/>
          </a:prstGeom>
          <a:noFill/>
        </p:spPr>
        <p:txBody>
          <a:bodyPr wrap="square" lIns="91440" tIns="45720" rIns="91440" bIns="45720" anchor="t">
            <a:spAutoFit/>
          </a:bodyPr>
          <a:lstStyle/>
          <a:p>
            <a:pPr marL="0" marR="0">
              <a:lnSpc>
                <a:spcPct val="110000"/>
              </a:lnSpc>
              <a:spcBef>
                <a:spcPts val="600"/>
              </a:spcBef>
            </a:pPr>
            <a:r>
              <a:rPr lang="en-US" sz="1800" b="1">
                <a:solidFill>
                  <a:schemeClr val="bg1"/>
                </a:solidFill>
                <a:latin typeface="Segoe UI Semibold"/>
                <a:cs typeface="Segoe UI Semibold"/>
              </a:rPr>
              <a:t>Content sync APIs</a:t>
            </a:r>
          </a:p>
          <a:p>
            <a:pPr>
              <a:lnSpc>
                <a:spcPct val="110000"/>
              </a:lnSpc>
              <a:spcBef>
                <a:spcPts val="1200"/>
              </a:spcBef>
            </a:pPr>
            <a:r>
              <a:rPr lang="en-US" sz="1400">
                <a:latin typeface="Segoe UI Semibold" panose="020B0702040204020203" pitchFamily="34" charset="0"/>
                <a:cs typeface="Segoe UI Semibold" panose="020B0702040204020203" pitchFamily="34" charset="0"/>
              </a:rPr>
              <a:t>Discover courses from any platform within Viva Learning</a:t>
            </a:r>
          </a:p>
          <a:p>
            <a:pPr>
              <a:lnSpc>
                <a:spcPct val="110000"/>
              </a:lnSpc>
              <a:spcBef>
                <a:spcPts val="1200"/>
              </a:spcBef>
            </a:pPr>
            <a:r>
              <a:rPr lang="en-US" sz="1400">
                <a:latin typeface="Segoe UI Semibold"/>
                <a:cs typeface="Segoe UI Semibold"/>
              </a:rPr>
              <a:t>Private preview: complete</a:t>
            </a:r>
            <a:endParaRPr lang="en-US" sz="1400">
              <a:latin typeface="Segoe UI Semibold" panose="020B0702040204020203" pitchFamily="34" charset="0"/>
              <a:cs typeface="Segoe UI Semibold" panose="020B0702040204020203" pitchFamily="34" charset="0"/>
            </a:endParaRPr>
          </a:p>
          <a:p>
            <a:pPr>
              <a:lnSpc>
                <a:spcPct val="110000"/>
              </a:lnSpc>
              <a:spcBef>
                <a:spcPts val="1200"/>
              </a:spcBef>
            </a:pPr>
            <a:r>
              <a:rPr lang="en-US" sz="1400">
                <a:latin typeface="Segoe UI Semibold"/>
                <a:cs typeface="Segoe UI Semibold"/>
              </a:rPr>
              <a:t>Public preview: </a:t>
            </a:r>
            <a:r>
              <a:rPr lang="en-US" sz="1400">
                <a:solidFill>
                  <a:schemeClr val="accent1"/>
                </a:solidFill>
                <a:latin typeface="Segoe UI Semibold"/>
                <a:cs typeface="Segoe UI Semibold"/>
              </a:rPr>
              <a:t>now available</a:t>
            </a:r>
            <a:endParaRPr lang="en-US" sz="1400">
              <a:solidFill>
                <a:schemeClr val="accent1"/>
              </a:solidFill>
              <a:latin typeface="Segoe UI Semibold" panose="020B0702040204020203" pitchFamily="34" charset="0"/>
              <a:cs typeface="Segoe UI Semibold" panose="020B0702040204020203" pitchFamily="34" charset="0"/>
            </a:endParaRPr>
          </a:p>
          <a:p>
            <a:pPr>
              <a:lnSpc>
                <a:spcPct val="110000"/>
              </a:lnSpc>
              <a:spcBef>
                <a:spcPts val="1200"/>
              </a:spcBef>
            </a:pPr>
            <a:r>
              <a:rPr lang="en-US" sz="1400">
                <a:latin typeface="Segoe UI Semibold"/>
                <a:cs typeface="Segoe UI Semibold"/>
              </a:rPr>
              <a:t>GA: </a:t>
            </a:r>
            <a:r>
              <a:rPr lang="en-US" sz="1400">
                <a:solidFill>
                  <a:srgbClr val="FFB900"/>
                </a:solidFill>
                <a:latin typeface="Segoe UI Semibold"/>
                <a:cs typeface="Segoe UI Semibold"/>
              </a:rPr>
              <a:t>coming soon</a:t>
            </a:r>
            <a:endParaRPr lang="en-US" sz="1400">
              <a:solidFill>
                <a:srgbClr val="FFB900"/>
              </a:solidFill>
              <a:latin typeface="Segoe UI Semibold" panose="020B0702040204020203" pitchFamily="34" charset="0"/>
              <a:cs typeface="Segoe UI Semibold" panose="020B0702040204020203" pitchFamily="34" charset="0"/>
            </a:endParaRPr>
          </a:p>
        </p:txBody>
      </p:sp>
      <p:sp>
        <p:nvSpPr>
          <p:cNvPr id="17" name="Rectangle: Rounded Corners 16">
            <a:extLst>
              <a:ext uri="{FF2B5EF4-FFF2-40B4-BE49-F238E27FC236}">
                <a16:creationId xmlns:a16="http://schemas.microsoft.com/office/drawing/2014/main" id="{7147C37A-7CE1-455A-B9F4-40F35D952EDD}"/>
              </a:ext>
              <a:ext uri="{C183D7F6-B498-43B3-948B-1728B52AA6E4}">
                <adec:decorative xmlns:adec="http://schemas.microsoft.com/office/drawing/2017/decorative" val="1"/>
              </a:ext>
            </a:extLst>
          </p:cNvPr>
          <p:cNvSpPr/>
          <p:nvPr/>
        </p:nvSpPr>
        <p:spPr bwMode="auto">
          <a:xfrm>
            <a:off x="5560128" y="2341954"/>
            <a:ext cx="4371812" cy="313651"/>
          </a:xfrm>
          <a:prstGeom prst="roundRect">
            <a:avLst>
              <a:gd name="adj" fmla="val 50000"/>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3" name="TextBox 32">
            <a:extLst>
              <a:ext uri="{FF2B5EF4-FFF2-40B4-BE49-F238E27FC236}">
                <a16:creationId xmlns:a16="http://schemas.microsoft.com/office/drawing/2014/main" id="{69746B3D-D091-4ABD-997B-21FCFEA538D2}"/>
              </a:ext>
            </a:extLst>
          </p:cNvPr>
          <p:cNvSpPr txBox="1"/>
          <p:nvPr/>
        </p:nvSpPr>
        <p:spPr>
          <a:xfrm>
            <a:off x="5598474" y="2306287"/>
            <a:ext cx="3855913" cy="1397177"/>
          </a:xfrm>
          <a:prstGeom prst="rect">
            <a:avLst/>
          </a:prstGeom>
          <a:noFill/>
        </p:spPr>
        <p:txBody>
          <a:bodyPr wrap="square" lIns="91440" tIns="45720" rIns="91440" bIns="45720" anchor="t">
            <a:spAutoFit/>
          </a:bodyPr>
          <a:lstStyle/>
          <a:p>
            <a:pPr marL="0" marR="0">
              <a:lnSpc>
                <a:spcPct val="110000"/>
              </a:lnSpc>
              <a:spcBef>
                <a:spcPts val="600"/>
              </a:spcBef>
            </a:pPr>
            <a:r>
              <a:rPr lang="en-US" sz="1800" spc="-20">
                <a:solidFill>
                  <a:schemeClr val="bg1"/>
                </a:solidFill>
                <a:latin typeface="Segoe UI Semibold"/>
                <a:cs typeface="Segoe UI Semibold"/>
              </a:rPr>
              <a:t>Learner record sync APIs</a:t>
            </a:r>
          </a:p>
          <a:p>
            <a:pPr>
              <a:lnSpc>
                <a:spcPct val="110000"/>
              </a:lnSpc>
              <a:spcBef>
                <a:spcPts val="1200"/>
              </a:spcBef>
            </a:pPr>
            <a:r>
              <a:rPr lang="en-US" sz="1400">
                <a:latin typeface="Segoe UI Semibold"/>
                <a:cs typeface="Segoe UI Semibold"/>
              </a:rPr>
              <a:t>Discover assigned &amp; completed trainings from any platform within Viva Learning</a:t>
            </a:r>
          </a:p>
          <a:p>
            <a:pPr>
              <a:lnSpc>
                <a:spcPct val="110000"/>
              </a:lnSpc>
              <a:spcBef>
                <a:spcPts val="1200"/>
              </a:spcBef>
            </a:pPr>
            <a:r>
              <a:rPr lang="en-US" sz="1400">
                <a:latin typeface="Segoe UI Semibold"/>
                <a:cs typeface="Segoe UI Semibold"/>
              </a:rPr>
              <a:t>Preview: </a:t>
            </a:r>
            <a:r>
              <a:rPr lang="en-US" sz="1400">
                <a:solidFill>
                  <a:srgbClr val="FFB900"/>
                </a:solidFill>
                <a:latin typeface="Segoe UI Semibold"/>
                <a:cs typeface="Segoe UI Semibold"/>
              </a:rPr>
              <a:t>coming later</a:t>
            </a:r>
          </a:p>
        </p:txBody>
      </p:sp>
      <p:sp>
        <p:nvSpPr>
          <p:cNvPr id="78" name="Rectangle 77">
            <a:extLst>
              <a:ext uri="{FF2B5EF4-FFF2-40B4-BE49-F238E27FC236}">
                <a16:creationId xmlns:a16="http://schemas.microsoft.com/office/drawing/2014/main" id="{5D221563-FE8F-4653-80AD-616A63EF8BE7}"/>
              </a:ext>
              <a:ext uri="{C183D7F6-B498-43B3-948B-1728B52AA6E4}">
                <adec:decorative xmlns:adec="http://schemas.microsoft.com/office/drawing/2017/decorative" val="1"/>
              </a:ext>
            </a:extLst>
          </p:cNvPr>
          <p:cNvSpPr/>
          <p:nvPr/>
        </p:nvSpPr>
        <p:spPr bwMode="auto">
          <a:xfrm>
            <a:off x="9766570" y="2341954"/>
            <a:ext cx="395592" cy="313651"/>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pic>
        <p:nvPicPr>
          <p:cNvPr id="3" name="Picture 2">
            <a:extLst>
              <a:ext uri="{FF2B5EF4-FFF2-40B4-BE49-F238E27FC236}">
                <a16:creationId xmlns:a16="http://schemas.microsoft.com/office/drawing/2014/main" id="{6E73D98A-167C-41E2-9B2F-06076293AA8B}"/>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9563099" y="4396858"/>
            <a:ext cx="737681" cy="737681"/>
          </a:xfrm>
          <a:prstGeom prst="rect">
            <a:avLst/>
          </a:prstGeom>
        </p:spPr>
      </p:pic>
      <p:sp>
        <p:nvSpPr>
          <p:cNvPr id="2" name="Oval 1">
            <a:extLst>
              <a:ext uri="{FF2B5EF4-FFF2-40B4-BE49-F238E27FC236}">
                <a16:creationId xmlns:a16="http://schemas.microsoft.com/office/drawing/2014/main" id="{6A5586C4-6B73-46D9-AD07-B9BD03748365}"/>
              </a:ext>
              <a:ext uri="{C183D7F6-B498-43B3-948B-1728B52AA6E4}">
                <adec:decorative xmlns:adec="http://schemas.microsoft.com/office/drawing/2017/decorative" val="1"/>
              </a:ext>
            </a:extLst>
          </p:cNvPr>
          <p:cNvSpPr/>
          <p:nvPr/>
        </p:nvSpPr>
        <p:spPr>
          <a:xfrm>
            <a:off x="172764" y="4639435"/>
            <a:ext cx="2117116" cy="2219232"/>
          </a:xfrm>
          <a:prstGeom prst="ellipse">
            <a:avLst/>
          </a:prstGeom>
          <a:solidFill>
            <a:srgbClr val="00999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pic>
        <p:nvPicPr>
          <p:cNvPr id="18" name="Picture 17">
            <a:extLst>
              <a:ext uri="{FF2B5EF4-FFF2-40B4-BE49-F238E27FC236}">
                <a16:creationId xmlns:a16="http://schemas.microsoft.com/office/drawing/2014/main" id="{44ABDA39-037E-48CE-832A-6EA82BFA774A}"/>
              </a:ext>
              <a:ext uri="{C183D7F6-B498-43B3-948B-1728B52AA6E4}">
                <adec:decorative xmlns:adec="http://schemas.microsoft.com/office/drawing/2017/decorative" val="1"/>
              </a:ext>
            </a:extLst>
          </p:cNvPr>
          <p:cNvPicPr>
            <a:picLocks noChangeAspect="1"/>
          </p:cNvPicPr>
          <p:nvPr/>
        </p:nvPicPr>
        <p:blipFill>
          <a:blip r:embed="rId7"/>
          <a:srcRect l="17717" r="17717"/>
          <a:stretch/>
        </p:blipFill>
        <p:spPr>
          <a:xfrm>
            <a:off x="318845" y="4800688"/>
            <a:ext cx="1861743" cy="1922654"/>
          </a:xfrm>
          <a:prstGeom prst="roundRect">
            <a:avLst>
              <a:gd name="adj" fmla="val 50000"/>
            </a:avLst>
          </a:prstGeom>
        </p:spPr>
      </p:pic>
    </p:spTree>
    <p:extLst>
      <p:ext uri="{BB962C8B-B14F-4D97-AF65-F5344CB8AC3E}">
        <p14:creationId xmlns:p14="http://schemas.microsoft.com/office/powerpoint/2010/main" val="1020239631"/>
      </p:ext>
    </p:extLst>
  </p:cSld>
  <p:clrMapOvr>
    <a:masterClrMapping/>
  </p:clrMapOvr>
  <p:transition>
    <p:fade/>
  </p:transition>
  <p:extLst>
    <p:ext uri="{6950BFC3-D8DA-4A85-94F7-54DA5524770B}">
      <p188:commentRel xmlns:p188="http://schemas.microsoft.com/office/powerpoint/2018/8/main" r:id="rId3"/>
    </p:ext>
  </p:extLst>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938B4BA-14D8-4EB9-B62A-76EC7D307AE3}"/>
              </a:ext>
              <a:ext uri="{C183D7F6-B498-43B3-948B-1728B52AA6E4}">
                <adec:decorative xmlns:adec="http://schemas.microsoft.com/office/drawing/2017/decorative" val="1"/>
              </a:ext>
            </a:extLst>
          </p:cNvPr>
          <p:cNvPicPr>
            <a:picLocks noChangeAspect="1"/>
          </p:cNvPicPr>
          <p:nvPr/>
        </p:nvPicPr>
        <p:blipFill rotWithShape="1">
          <a:blip r:embed="rId4"/>
          <a:srcRect t="14576" r="41241" b="29691"/>
          <a:stretch/>
        </p:blipFill>
        <p:spPr>
          <a:xfrm>
            <a:off x="4148046" y="0"/>
            <a:ext cx="8069301" cy="6858001"/>
          </a:xfrm>
          <a:prstGeom prst="rect">
            <a:avLst/>
          </a:prstGeom>
        </p:spPr>
      </p:pic>
      <p:sp>
        <p:nvSpPr>
          <p:cNvPr id="2" name="Title 1">
            <a:extLst>
              <a:ext uri="{FF2B5EF4-FFF2-40B4-BE49-F238E27FC236}">
                <a16:creationId xmlns:a16="http://schemas.microsoft.com/office/drawing/2014/main" id="{40E9ECF9-8BD5-496E-BF2D-D4EAC994BCA8}"/>
              </a:ext>
            </a:extLst>
          </p:cNvPr>
          <p:cNvSpPr>
            <a:spLocks noGrp="1"/>
          </p:cNvSpPr>
          <p:nvPr>
            <p:ph type="title"/>
          </p:nvPr>
        </p:nvSpPr>
        <p:spPr/>
        <p:txBody>
          <a:bodyPr/>
          <a:lstStyle/>
          <a:p>
            <a:r>
              <a:rPr lang="en-US"/>
              <a:t>Get started with Viva Learning Graph APIs</a:t>
            </a:r>
            <a:endParaRPr lang="en-US" sz="2800"/>
          </a:p>
        </p:txBody>
      </p:sp>
      <p:sp>
        <p:nvSpPr>
          <p:cNvPr id="10" name="TextBox 9">
            <a:extLst>
              <a:ext uri="{FF2B5EF4-FFF2-40B4-BE49-F238E27FC236}">
                <a16:creationId xmlns:a16="http://schemas.microsoft.com/office/drawing/2014/main" id="{4862AE97-E114-4CCC-A232-55F606709F6E}"/>
              </a:ext>
            </a:extLst>
          </p:cNvPr>
          <p:cNvSpPr txBox="1"/>
          <p:nvPr/>
        </p:nvSpPr>
        <p:spPr>
          <a:xfrm>
            <a:off x="588263" y="2202537"/>
            <a:ext cx="6060187" cy="1308050"/>
          </a:xfrm>
          <a:prstGeom prst="rect">
            <a:avLst/>
          </a:prstGeom>
          <a:noFill/>
        </p:spPr>
        <p:txBody>
          <a:bodyPr wrap="square" lIns="0" tIns="0" rIns="91440" bIns="4572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10000" noProof="0">
                <a:ln>
                  <a:noFill/>
                </a:ln>
                <a:gradFill>
                  <a:gsLst>
                    <a:gs pos="2917">
                      <a:srgbClr val="282828"/>
                    </a:gs>
                    <a:gs pos="30000">
                      <a:srgbClr val="282828"/>
                    </a:gs>
                  </a:gsLst>
                  <a:lin ang="5400000" scaled="0"/>
                </a:gradFill>
                <a:effectLst/>
                <a:uLnTx/>
                <a:uFillTx/>
                <a:latin typeface="Segoe UI Semibold" panose="020B0702040204020203" pitchFamily="34" charset="0"/>
                <a:cs typeface="Segoe UI Semibold" panose="020B0702040204020203" pitchFamily="34" charset="0"/>
              </a:rPr>
              <a:t>CTA: follow instructions on the public documentation for Graph APIs to start connecting your or your customers’ LMS/learning providers to Viva Learning</a:t>
            </a:r>
          </a:p>
          <a:p>
            <a:pPr marL="0" marR="0" lvl="0" indent="0" algn="l" defTabSz="914400" rtl="0" eaLnBrk="1" fontAlgn="auto" latinLnBrk="0" hangingPunct="1">
              <a:lnSpc>
                <a:spcPct val="90000"/>
              </a:lnSpc>
              <a:spcBef>
                <a:spcPts val="0"/>
              </a:spcBef>
              <a:spcAft>
                <a:spcPts val="600"/>
              </a:spcAft>
              <a:buClrTx/>
              <a:buSzTx/>
              <a:buFontTx/>
              <a:buNone/>
              <a:tabLst/>
              <a:defRPr/>
            </a:pPr>
            <a:endParaRPr lang="en-US" sz="2400" baseline="10000">
              <a:gradFill>
                <a:gsLst>
                  <a:gs pos="2917">
                    <a:srgbClr val="282828"/>
                  </a:gs>
                  <a:gs pos="30000">
                    <a:srgbClr val="282828"/>
                  </a:gs>
                </a:gsLst>
                <a:lin ang="5400000" scaled="0"/>
              </a:gradFill>
              <a:latin typeface="Segoe UI Semibold" panose="020B0702040204020203" pitchFamily="34" charset="0"/>
              <a:cs typeface="Segoe UI Semibold" panose="020B0702040204020203" pitchFamily="34" charset="0"/>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10000" noProof="0">
                <a:ln>
                  <a:noFill/>
                </a:ln>
                <a:gradFill>
                  <a:gsLst>
                    <a:gs pos="2917">
                      <a:srgbClr val="282828"/>
                    </a:gs>
                    <a:gs pos="30000">
                      <a:srgbClr val="282828"/>
                    </a:gs>
                  </a:gsLst>
                  <a:lin ang="5400000" scaled="0"/>
                </a:gradFill>
                <a:effectLst/>
                <a:uLnTx/>
                <a:uFillTx/>
                <a:latin typeface="Segoe UI Semibold" panose="020B0702040204020203" pitchFamily="34" charset="0"/>
                <a:cs typeface="Segoe UI Semibold" panose="020B0702040204020203" pitchFamily="34" charset="0"/>
                <a:hlinkClick r:id="rId5"/>
              </a:rPr>
              <a:t>Aka.ms/</a:t>
            </a:r>
            <a:r>
              <a:rPr kumimoji="0" lang="en-US" sz="2400" b="0" i="0" u="none" strike="noStrike" kern="1200" cap="none" spc="0" normalizeH="0" baseline="10000" noProof="0" err="1">
                <a:ln>
                  <a:noFill/>
                </a:ln>
                <a:gradFill>
                  <a:gsLst>
                    <a:gs pos="2917">
                      <a:srgbClr val="282828"/>
                    </a:gs>
                    <a:gs pos="30000">
                      <a:srgbClr val="282828"/>
                    </a:gs>
                  </a:gsLst>
                  <a:lin ang="5400000" scaled="0"/>
                </a:gradFill>
                <a:effectLst/>
                <a:uLnTx/>
                <a:uFillTx/>
                <a:latin typeface="Segoe UI Semibold" panose="020B0702040204020203" pitchFamily="34" charset="0"/>
                <a:cs typeface="Segoe UI Semibold" panose="020B0702040204020203" pitchFamily="34" charset="0"/>
                <a:hlinkClick r:id="rId5"/>
              </a:rPr>
              <a:t>VLGraphAPIdocumentation</a:t>
            </a:r>
            <a:endParaRPr kumimoji="0" lang="en-US" sz="1400" b="0" i="0" u="none" strike="noStrike" kern="1200" cap="none" spc="0" normalizeH="0" baseline="10000" noProof="0">
              <a:ln>
                <a:noFill/>
              </a:ln>
              <a:solidFill>
                <a:srgbClr val="000000"/>
              </a:solidFill>
              <a:effectLst/>
              <a:uLnTx/>
              <a:uFillTx/>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2630693902"/>
      </p:ext>
    </p:extLst>
  </p:cSld>
  <p:clrMapOvr>
    <a:masterClrMapping/>
  </p:clrMapOvr>
  <p:transition>
    <p:fade/>
  </p:transition>
  <p:extLst>
    <p:ext uri="{6950BFC3-D8DA-4A85-94F7-54DA5524770B}">
      <p188:commentRel xmlns:p188="http://schemas.microsoft.com/office/powerpoint/2018/8/main" r:id="rId3"/>
    </p:ext>
  </p:extLs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Rounded Corners 22">
            <a:extLst>
              <a:ext uri="{FF2B5EF4-FFF2-40B4-BE49-F238E27FC236}">
                <a16:creationId xmlns:a16="http://schemas.microsoft.com/office/drawing/2014/main" id="{05B3B0F9-F453-4C8F-833F-D9FE24EA30F7}"/>
              </a:ext>
              <a:ext uri="{C183D7F6-B498-43B3-948B-1728B52AA6E4}">
                <adec:decorative xmlns:adec="http://schemas.microsoft.com/office/drawing/2017/decorative" val="1"/>
              </a:ext>
            </a:extLst>
          </p:cNvPr>
          <p:cNvSpPr/>
          <p:nvPr/>
        </p:nvSpPr>
        <p:spPr bwMode="auto">
          <a:xfrm>
            <a:off x="1897542" y="2016087"/>
            <a:ext cx="5424432" cy="3765588"/>
          </a:xfrm>
          <a:prstGeom prst="roundRect">
            <a:avLst>
              <a:gd name="adj" fmla="val 6048"/>
            </a:avLst>
          </a:prstGeom>
          <a:solidFill>
            <a:schemeClr val="bg1"/>
          </a:solidFill>
          <a:ln w="19050">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cs typeface="Segoe UI" pitchFamily="34" charset="0"/>
            </a:endParaRPr>
          </a:p>
        </p:txBody>
      </p:sp>
      <p:sp>
        <p:nvSpPr>
          <p:cNvPr id="4" name="Title 3">
            <a:extLst>
              <a:ext uri="{FF2B5EF4-FFF2-40B4-BE49-F238E27FC236}">
                <a16:creationId xmlns:a16="http://schemas.microsoft.com/office/drawing/2014/main" id="{760FA306-90AD-414C-BFFA-C9913B8DEDD2}"/>
              </a:ext>
            </a:extLst>
          </p:cNvPr>
          <p:cNvSpPr>
            <a:spLocks noGrp="1"/>
          </p:cNvSpPr>
          <p:nvPr>
            <p:ph type="title"/>
          </p:nvPr>
        </p:nvSpPr>
        <p:spPr/>
        <p:txBody>
          <a:bodyPr lIns="0" tIns="0" rIns="0" bIns="0"/>
          <a:lstStyle/>
          <a:p>
            <a:r>
              <a:rPr lang="en-US" sz="2800"/>
              <a:t>Resources and next steps</a:t>
            </a:r>
            <a:endParaRPr lang="en-US" sz="2800">
              <a:solidFill>
                <a:schemeClr val="accent1"/>
              </a:solidFill>
            </a:endParaRPr>
          </a:p>
        </p:txBody>
      </p:sp>
      <p:sp>
        <p:nvSpPr>
          <p:cNvPr id="78" name="Rectangle: Rounded Corners 77">
            <a:extLst>
              <a:ext uri="{FF2B5EF4-FFF2-40B4-BE49-F238E27FC236}">
                <a16:creationId xmlns:a16="http://schemas.microsoft.com/office/drawing/2014/main" id="{7E465106-CD0C-481E-901D-FB3869ADD0B5}"/>
              </a:ext>
              <a:ext uri="{C183D7F6-B498-43B3-948B-1728B52AA6E4}">
                <adec:decorative xmlns:adec="http://schemas.microsoft.com/office/drawing/2017/decorative" val="1"/>
              </a:ext>
            </a:extLst>
          </p:cNvPr>
          <p:cNvSpPr/>
          <p:nvPr/>
        </p:nvSpPr>
        <p:spPr bwMode="auto">
          <a:xfrm>
            <a:off x="1897542" y="1821376"/>
            <a:ext cx="3752880" cy="313651"/>
          </a:xfrm>
          <a:prstGeom prst="roundRect">
            <a:avLst>
              <a:gd name="adj" fmla="val 50000"/>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76" name="TextBox 75">
            <a:extLst>
              <a:ext uri="{FF2B5EF4-FFF2-40B4-BE49-F238E27FC236}">
                <a16:creationId xmlns:a16="http://schemas.microsoft.com/office/drawing/2014/main" id="{60187327-3933-4C57-8017-5F4EF105BE5B}"/>
              </a:ext>
            </a:extLst>
          </p:cNvPr>
          <p:cNvSpPr txBox="1"/>
          <p:nvPr/>
        </p:nvSpPr>
        <p:spPr>
          <a:xfrm>
            <a:off x="2109995" y="1817630"/>
            <a:ext cx="3390775" cy="280782"/>
          </a:xfrm>
          <a:prstGeom prst="rect">
            <a:avLst/>
          </a:prstGeom>
          <a:noFill/>
        </p:spPr>
        <p:txBody>
          <a:bodyPr wrap="square" lIns="0" tIns="0" rIns="0" bIns="0" anchor="t">
            <a:spAutoFit/>
          </a:bodyPr>
          <a:lstStyle/>
          <a:p>
            <a:pPr marL="0" marR="0" lvl="0" indent="0" algn="l" defTabSz="914400" rtl="0" eaLnBrk="1" fontAlgn="auto" latinLnBrk="0" hangingPunct="1">
              <a:lnSpc>
                <a:spcPct val="110000"/>
              </a:lnSpc>
              <a:spcBef>
                <a:spcPts val="600"/>
              </a:spcBef>
              <a:spcAft>
                <a:spcPts val="0"/>
              </a:spcAft>
              <a:buClrTx/>
              <a:buSzTx/>
              <a:buFontTx/>
              <a:buNone/>
              <a:tabLst/>
              <a:defRPr/>
            </a:pPr>
            <a:r>
              <a:rPr kumimoji="0" lang="en-US" b="0" i="0" u="none" strike="noStrike" kern="1200" cap="none" spc="0" normalizeH="0" baseline="0" noProof="0">
                <a:ln>
                  <a:noFill/>
                </a:ln>
                <a:solidFill>
                  <a:schemeClr val="bg1"/>
                </a:solidFill>
                <a:effectLst/>
                <a:uLnTx/>
                <a:uFillTx/>
                <a:latin typeface="+mj-lt"/>
                <a:ea typeface="+mn-ea"/>
                <a:cs typeface="Segoe UI"/>
              </a:rPr>
              <a:t>Learn more about Viva Learning</a:t>
            </a:r>
          </a:p>
        </p:txBody>
      </p:sp>
      <p:sp>
        <p:nvSpPr>
          <p:cNvPr id="24" name="TextBox 23">
            <a:extLst>
              <a:ext uri="{FF2B5EF4-FFF2-40B4-BE49-F238E27FC236}">
                <a16:creationId xmlns:a16="http://schemas.microsoft.com/office/drawing/2014/main" id="{A5CB7D50-E1E8-4D2A-B798-9D645F53FCD7}"/>
              </a:ext>
            </a:extLst>
          </p:cNvPr>
          <p:cNvSpPr txBox="1"/>
          <p:nvPr/>
        </p:nvSpPr>
        <p:spPr>
          <a:xfrm>
            <a:off x="2505868" y="2344041"/>
            <a:ext cx="4816106" cy="3462486"/>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b="1" i="0" u="none" strike="noStrike" kern="1200" cap="none" spc="0" normalizeH="0" baseline="0" noProof="0">
                <a:ln>
                  <a:noFill/>
                </a:ln>
                <a:gradFill>
                  <a:gsLst>
                    <a:gs pos="2917">
                      <a:srgbClr val="282828"/>
                    </a:gs>
                    <a:gs pos="30000">
                      <a:srgbClr val="282828"/>
                    </a:gs>
                  </a:gsLst>
                  <a:lin ang="5400000" scaled="0"/>
                </a:gradFill>
                <a:effectLst/>
                <a:uLnTx/>
                <a:uFillTx/>
                <a:latin typeface="+mj-lt"/>
                <a:ea typeface="+mn-ea"/>
                <a:cs typeface="+mn-cs"/>
              </a:rPr>
              <a:t>General product info:</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rPr>
              <a:t>Webpage: </a:t>
            </a:r>
            <a:r>
              <a:rPr kumimoji="0" lang="en-US"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hlinkClick r:id="rId4"/>
              </a:rPr>
              <a:t>aka.ms/</a:t>
            </a:r>
            <a:r>
              <a:rPr kumimoji="0" lang="en-US" b="0" i="0" u="none" strike="noStrike" kern="1200" cap="none" spc="0" normalizeH="0" baseline="0" noProof="0" err="1">
                <a:ln>
                  <a:noFill/>
                </a:ln>
                <a:gradFill>
                  <a:gsLst>
                    <a:gs pos="2917">
                      <a:srgbClr val="282828"/>
                    </a:gs>
                    <a:gs pos="30000">
                      <a:srgbClr val="282828"/>
                    </a:gs>
                  </a:gsLst>
                  <a:lin ang="5400000" scaled="0"/>
                </a:gradFill>
                <a:effectLst/>
                <a:uLnTx/>
                <a:uFillTx/>
                <a:latin typeface="Segoe UI"/>
                <a:ea typeface="+mn-ea"/>
                <a:cs typeface="+mn-cs"/>
                <a:hlinkClick r:id="rId4"/>
              </a:rPr>
              <a:t>VivaLearning</a:t>
            </a:r>
            <a:endParaRPr kumimoji="0" lang="en-US"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rPr>
              <a:t>GA blog: </a:t>
            </a:r>
            <a:r>
              <a:rPr kumimoji="0" lang="en-US"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hlinkClick r:id="rId5"/>
              </a:rPr>
              <a:t>aka.ms/</a:t>
            </a:r>
            <a:r>
              <a:rPr kumimoji="0" lang="en-US" b="0" i="0" u="none" strike="noStrike" kern="1200" cap="none" spc="0" normalizeH="0" baseline="0" noProof="0" err="1">
                <a:ln>
                  <a:noFill/>
                </a:ln>
                <a:gradFill>
                  <a:gsLst>
                    <a:gs pos="2917">
                      <a:srgbClr val="282828"/>
                    </a:gs>
                    <a:gs pos="30000">
                      <a:srgbClr val="282828"/>
                    </a:gs>
                  </a:gsLst>
                  <a:lin ang="5400000" scaled="0"/>
                </a:gradFill>
                <a:effectLst/>
                <a:uLnTx/>
                <a:uFillTx/>
                <a:latin typeface="Segoe UI"/>
                <a:ea typeface="+mn-ea"/>
                <a:cs typeface="+mn-cs"/>
                <a:hlinkClick r:id="rId5"/>
              </a:rPr>
              <a:t>VivaLearningGA</a:t>
            </a:r>
            <a:endParaRPr kumimoji="0" lang="en-US"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rPr>
              <a:t>Adoption page: </a:t>
            </a:r>
            <a:r>
              <a:rPr kumimoji="0" lang="en-US"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hlinkClick r:id="rId6"/>
              </a:rPr>
              <a:t>aka.ms/</a:t>
            </a:r>
            <a:r>
              <a:rPr kumimoji="0" lang="en-US" b="0" i="0" u="none" strike="noStrike" kern="1200" cap="none" spc="0" normalizeH="0" baseline="0" noProof="0" err="1">
                <a:ln>
                  <a:noFill/>
                </a:ln>
                <a:gradFill>
                  <a:gsLst>
                    <a:gs pos="2917">
                      <a:srgbClr val="282828"/>
                    </a:gs>
                    <a:gs pos="30000">
                      <a:srgbClr val="282828"/>
                    </a:gs>
                  </a:gsLst>
                  <a:lin ang="5400000" scaled="0"/>
                </a:gradFill>
                <a:effectLst/>
                <a:uLnTx/>
                <a:uFillTx/>
                <a:latin typeface="Segoe UI"/>
                <a:ea typeface="+mn-ea"/>
                <a:cs typeface="+mn-cs"/>
                <a:hlinkClick r:id="rId6"/>
              </a:rPr>
              <a:t>VivaLearningAdoption</a:t>
            </a:r>
            <a:endParaRPr kumimoji="0" lang="en-US"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000"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endParaRPr>
          </a:p>
          <a:p>
            <a:pPr>
              <a:lnSpc>
                <a:spcPct val="90000"/>
              </a:lnSpc>
              <a:spcAft>
                <a:spcPts val="600"/>
              </a:spcAft>
              <a:defRPr/>
            </a:pPr>
            <a:r>
              <a:rPr lang="en-US" b="1">
                <a:gradFill>
                  <a:gsLst>
                    <a:gs pos="2917">
                      <a:srgbClr val="282828"/>
                    </a:gs>
                    <a:gs pos="30000">
                      <a:srgbClr val="282828"/>
                    </a:gs>
                  </a:gsLst>
                  <a:lin ang="5400000" scaled="0"/>
                </a:gradFill>
                <a:latin typeface="+mj-lt"/>
              </a:rPr>
              <a:t>Deep dive:</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rPr>
              <a:t>Documentation: </a:t>
            </a:r>
            <a:r>
              <a:rPr kumimoji="0" lang="en-US"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hlinkClick r:id="rId7"/>
              </a:rPr>
              <a:t>aka.ms/</a:t>
            </a:r>
            <a:r>
              <a:rPr kumimoji="0" lang="en-US" b="0" i="0" u="none" strike="noStrike" kern="1200" cap="none" spc="0" normalizeH="0" baseline="0" noProof="0" err="1">
                <a:ln>
                  <a:noFill/>
                </a:ln>
                <a:gradFill>
                  <a:gsLst>
                    <a:gs pos="2917">
                      <a:srgbClr val="282828"/>
                    </a:gs>
                    <a:gs pos="30000">
                      <a:srgbClr val="282828"/>
                    </a:gs>
                  </a:gsLst>
                  <a:lin ang="5400000" scaled="0"/>
                </a:gradFill>
                <a:effectLst/>
                <a:uLnTx/>
                <a:uFillTx/>
                <a:latin typeface="Segoe UI"/>
                <a:ea typeface="+mn-ea"/>
                <a:cs typeface="+mn-cs"/>
                <a:hlinkClick r:id="rId7"/>
              </a:rPr>
              <a:t>VivaLearningDocs</a:t>
            </a:r>
            <a:r>
              <a:rPr lang="en-US">
                <a:gradFill>
                  <a:gsLst>
                    <a:gs pos="2917">
                      <a:srgbClr val="282828"/>
                    </a:gs>
                    <a:gs pos="30000">
                      <a:srgbClr val="282828"/>
                    </a:gs>
                  </a:gsLst>
                  <a:lin ang="5400000" scaled="0"/>
                </a:gradFill>
                <a:latin typeface="Segoe UI"/>
              </a:rPr>
              <a:t> </a:t>
            </a:r>
          </a:p>
          <a:p>
            <a:pPr marL="0" marR="0" lvl="0" indent="0" algn="l" defTabSz="914400" rtl="0" eaLnBrk="1" fontAlgn="auto" latinLnBrk="0" hangingPunct="1">
              <a:lnSpc>
                <a:spcPct val="90000"/>
              </a:lnSpc>
              <a:spcBef>
                <a:spcPts val="0"/>
              </a:spcBef>
              <a:spcAft>
                <a:spcPts val="600"/>
              </a:spcAft>
              <a:buClrTx/>
              <a:buSzTx/>
              <a:buFontTx/>
              <a:buNone/>
              <a:tabLst/>
              <a:defRPr/>
            </a:pPr>
            <a:r>
              <a:rPr lang="en-US">
                <a:gradFill>
                  <a:gsLst>
                    <a:gs pos="2917">
                      <a:srgbClr val="282828"/>
                    </a:gs>
                    <a:gs pos="30000">
                      <a:srgbClr val="282828"/>
                    </a:gs>
                  </a:gsLst>
                  <a:lin ang="5400000" scaled="0"/>
                </a:gradFill>
                <a:latin typeface="Segoe UI"/>
              </a:rPr>
              <a:t>Graph API:</a:t>
            </a:r>
            <a:r>
              <a:rPr lang="en-US">
                <a:solidFill>
                  <a:schemeClr val="accent4"/>
                </a:solidFill>
                <a:latin typeface="Segoe UI"/>
              </a:rPr>
              <a:t> </a:t>
            </a:r>
            <a:r>
              <a:rPr lang="en-US">
                <a:solidFill>
                  <a:schemeClr val="accent4"/>
                </a:solidFill>
                <a:latin typeface="Segoe UI"/>
                <a:hlinkClick r:id="rId8">
                  <a:extLst>
                    <a:ext uri="{A12FA001-AC4F-418D-AE19-62706E023703}">
                      <ahyp:hlinkClr xmlns:ahyp="http://schemas.microsoft.com/office/drawing/2018/hyperlinkcolor" val="tx"/>
                    </a:ext>
                  </a:extLst>
                </a:hlinkClick>
              </a:rPr>
              <a:t>Aka.ms/</a:t>
            </a:r>
            <a:r>
              <a:rPr lang="en-US" err="1">
                <a:solidFill>
                  <a:schemeClr val="accent4"/>
                </a:solidFill>
                <a:latin typeface="Segoe UI"/>
                <a:hlinkClick r:id="rId8">
                  <a:extLst>
                    <a:ext uri="{A12FA001-AC4F-418D-AE19-62706E023703}">
                      <ahyp:hlinkClr xmlns:ahyp="http://schemas.microsoft.com/office/drawing/2018/hyperlinkcolor" val="tx"/>
                    </a:ext>
                  </a:extLst>
                </a:hlinkClick>
              </a:rPr>
              <a:t>VLGraphAPIdocumentation</a:t>
            </a:r>
            <a:endParaRPr lang="en-US">
              <a:solidFill>
                <a:schemeClr val="accent4"/>
              </a:solidFill>
              <a:latin typeface="Segoe UI"/>
            </a:endParaRPr>
          </a:p>
          <a:p>
            <a:pPr>
              <a:lnSpc>
                <a:spcPct val="90000"/>
              </a:lnSpc>
              <a:spcAft>
                <a:spcPts val="600"/>
              </a:spcAft>
              <a:defRPr/>
            </a:pPr>
            <a:r>
              <a:rPr lang="en-US"/>
              <a:t>Partner Practices page: </a:t>
            </a:r>
            <a:r>
              <a:rPr lang="en-US">
                <a:solidFill>
                  <a:schemeClr val="accent4"/>
                </a:solidFill>
                <a:hlinkClick r:id="rId9">
                  <a:extLst>
                    <a:ext uri="{A12FA001-AC4F-418D-AE19-62706E023703}">
                      <ahyp:hlinkClr xmlns:ahyp="http://schemas.microsoft.com/office/drawing/2018/hyperlinkcolor" val="tx"/>
                    </a:ext>
                  </a:extLst>
                </a:hlinkClick>
              </a:rPr>
              <a:t>aka.ms/Viva/Learning/</a:t>
            </a:r>
            <a:r>
              <a:rPr lang="en-US" err="1">
                <a:solidFill>
                  <a:schemeClr val="accent4"/>
                </a:solidFill>
                <a:hlinkClick r:id="rId9">
                  <a:extLst>
                    <a:ext uri="{A12FA001-AC4F-418D-AE19-62706E023703}">
                      <ahyp:hlinkClr xmlns:ahyp="http://schemas.microsoft.com/office/drawing/2018/hyperlinkcolor" val="tx"/>
                    </a:ext>
                  </a:extLst>
                </a:hlinkClick>
              </a:rPr>
              <a:t>PracticePage</a:t>
            </a:r>
            <a:endParaRPr lang="en-US">
              <a:solidFill>
                <a:schemeClr val="accent4"/>
              </a:solidFill>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endParaRPr>
          </a:p>
        </p:txBody>
      </p:sp>
      <p:pic>
        <p:nvPicPr>
          <p:cNvPr id="30" name="Picture 29">
            <a:extLst>
              <a:ext uri="{FF2B5EF4-FFF2-40B4-BE49-F238E27FC236}">
                <a16:creationId xmlns:a16="http://schemas.microsoft.com/office/drawing/2014/main" id="{6C9A0F1C-6915-479F-BC82-50986E7E7CF4}"/>
              </a:ext>
              <a:ext uri="{C183D7F6-B498-43B3-948B-1728B52AA6E4}">
                <adec:decorative xmlns:adec="http://schemas.microsoft.com/office/drawing/2017/decorative" val="1"/>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936956" y="1717350"/>
            <a:ext cx="597471" cy="597471"/>
          </a:xfrm>
          <a:prstGeom prst="rect">
            <a:avLst/>
          </a:prstGeom>
        </p:spPr>
      </p:pic>
      <p:pic>
        <p:nvPicPr>
          <p:cNvPr id="77" name="Graphic 76">
            <a:extLst>
              <a:ext uri="{FF2B5EF4-FFF2-40B4-BE49-F238E27FC236}">
                <a16:creationId xmlns:a16="http://schemas.microsoft.com/office/drawing/2014/main" id="{90A4AA85-4D24-45D2-A4A2-1C30558E4312}"/>
              </a:ext>
              <a:ext uri="{C183D7F6-B498-43B3-948B-1728B52AA6E4}">
                <adec:decorative xmlns:adec="http://schemas.microsoft.com/office/drawing/2017/decorative" val="1"/>
              </a:ext>
            </a:extLst>
          </p:cNvPr>
          <p:cNvPicPr>
            <a:picLocks/>
          </p:cNvPicPr>
          <p:nvPr/>
        </p:nvPicPr>
        <p:blipFill rotWithShape="1">
          <a:blip r:embed="rId11">
            <a:extLst>
              <a:ext uri="{96DAC541-7B7A-43D3-8B79-37D633B846F1}">
                <asvg:svgBlip xmlns:asvg="http://schemas.microsoft.com/office/drawing/2016/SVG/main" r:embed="rId12"/>
              </a:ext>
            </a:extLst>
          </a:blip>
          <a:srcRect t="-3021" r="6537" b="-227"/>
          <a:stretch/>
        </p:blipFill>
        <p:spPr>
          <a:xfrm>
            <a:off x="39914" y="2773274"/>
            <a:ext cx="2313615" cy="2162640"/>
          </a:xfrm>
          <a:prstGeom prst="rect">
            <a:avLst/>
          </a:prstGeom>
        </p:spPr>
      </p:pic>
      <p:pic>
        <p:nvPicPr>
          <p:cNvPr id="5" name="Picture 4" descr="A person sitting in a chair&#10;&#10;Description automatically generated with medium confidence">
            <a:extLst>
              <a:ext uri="{FF2B5EF4-FFF2-40B4-BE49-F238E27FC236}">
                <a16:creationId xmlns:a16="http://schemas.microsoft.com/office/drawing/2014/main" id="{61D897EE-373D-ACE5-DCE9-C37E69703608}"/>
              </a:ext>
            </a:extLst>
          </p:cNvPr>
          <p:cNvPicPr>
            <a:picLocks noChangeAspect="1"/>
          </p:cNvPicPr>
          <p:nvPr/>
        </p:nvPicPr>
        <p:blipFill rotWithShape="1">
          <a:blip r:embed="rId13">
            <a:extLst>
              <a:ext uri="{28A0092B-C50C-407E-A947-70E740481C1C}">
                <a14:useLocalDpi xmlns:a14="http://schemas.microsoft.com/office/drawing/2010/main" val="0"/>
              </a:ext>
            </a:extLst>
          </a:blip>
          <a:srcRect l="26418" t="123" r="30820" b="-5"/>
          <a:stretch/>
        </p:blipFill>
        <p:spPr>
          <a:xfrm>
            <a:off x="7845778" y="0"/>
            <a:ext cx="4404272" cy="6858000"/>
          </a:xfrm>
          <a:prstGeom prst="rect">
            <a:avLst/>
          </a:prstGeom>
        </p:spPr>
      </p:pic>
    </p:spTree>
    <p:extLst>
      <p:ext uri="{BB962C8B-B14F-4D97-AF65-F5344CB8AC3E}">
        <p14:creationId xmlns:p14="http://schemas.microsoft.com/office/powerpoint/2010/main" val="2015667262"/>
      </p:ext>
    </p:extLst>
  </p:cSld>
  <p:clrMapOvr>
    <a:masterClrMapping/>
  </p:clrMapOvr>
  <p:transition>
    <p:fade/>
  </p:transition>
  <p:extLst>
    <p:ext uri="{6950BFC3-D8DA-4A85-94F7-54DA5524770B}">
      <p188:commentRel xmlns:p188="http://schemas.microsoft.com/office/powerpoint/2018/8/main" r:id="rId3"/>
    </p:ext>
  </p:extLs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E2996913-07E5-4678-A6B2-1638DCD35850}"/>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ltGray">
          <a:xfrm>
            <a:off x="5664860" y="-388779"/>
            <a:ext cx="10115882" cy="8356599"/>
          </a:xfrm>
          <a:prstGeom prst="rect">
            <a:avLst/>
          </a:prstGeom>
        </p:spPr>
      </p:pic>
      <p:pic>
        <p:nvPicPr>
          <p:cNvPr id="9" name="Picture 8">
            <a:extLst>
              <a:ext uri="{FF2B5EF4-FFF2-40B4-BE49-F238E27FC236}">
                <a16:creationId xmlns:a16="http://schemas.microsoft.com/office/drawing/2014/main" id="{9307A080-E152-4610-AE8B-63E1873621D7}"/>
              </a:ext>
              <a:ext uri="{C183D7F6-B498-43B3-948B-1728B52AA6E4}">
                <adec:decorative xmlns:adec="http://schemas.microsoft.com/office/drawing/2017/decorative" val="1"/>
              </a:ext>
            </a:extLst>
          </p:cNvPr>
          <p:cNvPicPr>
            <a:picLocks noChangeAspect="1"/>
          </p:cNvPicPr>
          <p:nvPr/>
        </p:nvPicPr>
        <p:blipFill>
          <a:blip r:embed="rId4" cstate="hqprint">
            <a:extLst>
              <a:ext uri="{28A0092B-C50C-407E-A947-70E740481C1C}">
                <a14:useLocalDpi xmlns:a14="http://schemas.microsoft.com/office/drawing/2010/main" val="0"/>
              </a:ext>
            </a:extLst>
          </a:blip>
          <a:srcRect l="16626" r="16626"/>
          <a:stretch/>
        </p:blipFill>
        <p:spPr>
          <a:xfrm>
            <a:off x="8434138" y="4852213"/>
            <a:ext cx="2511113" cy="2511113"/>
          </a:xfrm>
          <a:prstGeom prst="ellipse">
            <a:avLst/>
          </a:prstGeom>
          <a:effectLst>
            <a:outerShdw blurRad="482600" dist="127000" dir="2700000" sx="101000" sy="101000" algn="ctr" rotWithShape="0">
              <a:prstClr val="black">
                <a:alpha val="29000"/>
              </a:prstClr>
            </a:outerShdw>
          </a:effectLst>
        </p:spPr>
      </p:pic>
      <p:sp>
        <p:nvSpPr>
          <p:cNvPr id="43" name="Title 42">
            <a:extLst>
              <a:ext uri="{FF2B5EF4-FFF2-40B4-BE49-F238E27FC236}">
                <a16:creationId xmlns:a16="http://schemas.microsoft.com/office/drawing/2014/main" id="{5E613C36-06A6-4AA7-99ED-E3A6EB679453}"/>
              </a:ext>
            </a:extLst>
          </p:cNvPr>
          <p:cNvSpPr txBox="1">
            <a:spLocks noGrp="1"/>
          </p:cNvSpPr>
          <p:nvPr>
            <p:ph type="title" idx="4294967295"/>
          </p:nvPr>
        </p:nvSpPr>
        <p:spPr>
          <a:xfrm>
            <a:off x="685800" y="2998787"/>
            <a:ext cx="3684588" cy="55399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chemeClr val="accent6"/>
                </a:solidFill>
                <a:effectLst/>
                <a:uLnTx/>
                <a:uFillTx/>
                <a:latin typeface="+mj-lt"/>
                <a:ea typeface="+mn-ea"/>
                <a:cs typeface="+mn-cs"/>
              </a:rPr>
              <a:t>Thank you.</a:t>
            </a:r>
          </a:p>
        </p:txBody>
      </p:sp>
    </p:spTree>
    <p:extLst>
      <p:ext uri="{BB962C8B-B14F-4D97-AF65-F5344CB8AC3E}">
        <p14:creationId xmlns:p14="http://schemas.microsoft.com/office/powerpoint/2010/main" val="41177377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66CF69B8-D2C7-4BF4-B7D5-8EB738CA965D}"/>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bwMode="ltGray">
          <a:xfrm>
            <a:off x="-3733140" y="-388779"/>
            <a:ext cx="10115882" cy="8356599"/>
          </a:xfrm>
          <a:prstGeom prst="rect">
            <a:avLst/>
          </a:prstGeom>
        </p:spPr>
      </p:pic>
      <p:sp>
        <p:nvSpPr>
          <p:cNvPr id="15" name="Title 3">
            <a:extLst>
              <a:ext uri="{FF2B5EF4-FFF2-40B4-BE49-F238E27FC236}">
                <a16:creationId xmlns:a16="http://schemas.microsoft.com/office/drawing/2014/main" id="{723C5EA0-818B-442D-BDED-7442506B982A}"/>
              </a:ext>
            </a:extLst>
          </p:cNvPr>
          <p:cNvSpPr>
            <a:spLocks noGrp="1"/>
          </p:cNvSpPr>
          <p:nvPr>
            <p:ph type="title"/>
          </p:nvPr>
        </p:nvSpPr>
        <p:spPr>
          <a:xfrm>
            <a:off x="2039369" y="2908318"/>
            <a:ext cx="1507237" cy="430887"/>
          </a:xfrm>
        </p:spPr>
        <p:txBody>
          <a:bodyPr/>
          <a:lstStyle/>
          <a:p>
            <a:r>
              <a:rPr lang="en-US">
                <a:solidFill>
                  <a:schemeClr val="bg1"/>
                </a:solidFill>
              </a:rPr>
              <a:t>Agenda</a:t>
            </a:r>
          </a:p>
        </p:txBody>
      </p:sp>
      <p:sp>
        <p:nvSpPr>
          <p:cNvPr id="7" name="Text Placeholder 4">
            <a:extLst>
              <a:ext uri="{FF2B5EF4-FFF2-40B4-BE49-F238E27FC236}">
                <a16:creationId xmlns:a16="http://schemas.microsoft.com/office/drawing/2014/main" id="{826BCA94-88DA-4E32-A97C-F3725E700851}"/>
              </a:ext>
            </a:extLst>
          </p:cNvPr>
          <p:cNvSpPr txBox="1">
            <a:spLocks/>
          </p:cNvSpPr>
          <p:nvPr/>
        </p:nvSpPr>
        <p:spPr>
          <a:xfrm>
            <a:off x="4914863" y="3182743"/>
            <a:ext cx="6911340" cy="1698927"/>
          </a:xfrm>
          <a:prstGeom prst="rect">
            <a:avLst/>
          </a:prstGeom>
        </p:spPr>
        <p:txBody>
          <a:bodyPr lIns="91440" tIns="45720" rIns="91440" bIns="45720" anchor="t"/>
          <a:lstStyle>
            <a:lvl1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sz="2400" kern="1200" spc="0" baseline="0">
                <a:solidFill>
                  <a:schemeClr val="tx1"/>
                </a:solidFill>
                <a:latin typeface="+mn-lt"/>
                <a:ea typeface="+mn-ea"/>
                <a:cs typeface="+mn-cs"/>
              </a:defRPr>
            </a:lvl1pPr>
            <a:lvl2pPr marL="224097"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3pPr>
            <a:lvl4pPr marL="67229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514350" indent="-514350">
              <a:buClr>
                <a:schemeClr val="accent1"/>
              </a:buClr>
              <a:buFont typeface="+mj-lt"/>
              <a:buAutoNum type="arabicPeriod"/>
            </a:pPr>
            <a:r>
              <a:rPr lang="en-US"/>
              <a:t>Viva Learning overview</a:t>
            </a:r>
          </a:p>
          <a:p>
            <a:pPr marL="514350" indent="-514350">
              <a:buClr>
                <a:schemeClr val="accent1"/>
              </a:buClr>
              <a:buFont typeface="+mj-lt"/>
              <a:buAutoNum type="arabicPeriod"/>
            </a:pPr>
            <a:r>
              <a:rPr lang="en-US"/>
              <a:t>How, What &amp; When: Graph APIs</a:t>
            </a:r>
          </a:p>
          <a:p>
            <a:pPr marL="514350" indent="-514350">
              <a:buClr>
                <a:schemeClr val="accent1"/>
              </a:buClr>
              <a:buFont typeface="+mj-lt"/>
              <a:buAutoNum type="arabicPeriod"/>
            </a:pPr>
            <a:r>
              <a:rPr lang="en-US"/>
              <a:t>Get Started</a:t>
            </a:r>
          </a:p>
          <a:p>
            <a:pPr marL="514350" indent="-514350">
              <a:buClr>
                <a:schemeClr val="accent1"/>
              </a:buClr>
              <a:buFont typeface="+mj-lt"/>
              <a:buAutoNum type="arabicPeriod"/>
            </a:pPr>
            <a:r>
              <a:rPr lang="en-US"/>
              <a:t>Resources</a:t>
            </a:r>
          </a:p>
        </p:txBody>
      </p:sp>
      <p:pic>
        <p:nvPicPr>
          <p:cNvPr id="16" name="Picture 15">
            <a:extLst>
              <a:ext uri="{FF2B5EF4-FFF2-40B4-BE49-F238E27FC236}">
                <a16:creationId xmlns:a16="http://schemas.microsoft.com/office/drawing/2014/main" id="{83E1B1DB-E83F-4AF2-A446-525C2205BDD8}"/>
              </a:ex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9937848" y="0"/>
            <a:ext cx="1974752" cy="1974752"/>
          </a:xfrm>
          <a:prstGeom prst="ellipse">
            <a:avLst/>
          </a:prstGeom>
          <a:effectLst>
            <a:outerShdw blurRad="482600" dist="127000" dir="2700000" sx="101000" sy="101000" algn="ctr" rotWithShape="0">
              <a:prstClr val="black">
                <a:alpha val="29000"/>
              </a:prstClr>
            </a:outerShdw>
          </a:effectLst>
        </p:spPr>
      </p:pic>
      <p:pic>
        <p:nvPicPr>
          <p:cNvPr id="18" name="Picture 17">
            <a:extLst>
              <a:ext uri="{FF2B5EF4-FFF2-40B4-BE49-F238E27FC236}">
                <a16:creationId xmlns:a16="http://schemas.microsoft.com/office/drawing/2014/main" id="{1CD451D5-5A98-4357-8F3C-4E17454395BC}"/>
              </a:ext>
              <a:ext uri="{C183D7F6-B498-43B3-948B-1728B52AA6E4}">
                <adec:decorative xmlns:adec="http://schemas.microsoft.com/office/drawing/2017/decorative" val="1"/>
              </a:ext>
            </a:extLst>
          </p:cNvPr>
          <p:cNvPicPr>
            <a:picLocks noChangeAspect="1"/>
          </p:cNvPicPr>
          <p:nvPr/>
        </p:nvPicPr>
        <p:blipFill>
          <a:blip r:embed="rId6" cstate="hqprint">
            <a:extLst>
              <a:ext uri="{28A0092B-C50C-407E-A947-70E740481C1C}">
                <a14:useLocalDpi xmlns:a14="http://schemas.microsoft.com/office/drawing/2010/main" val="0"/>
              </a:ext>
            </a:extLst>
          </a:blip>
          <a:srcRect l="17379" r="17379"/>
          <a:stretch/>
        </p:blipFill>
        <p:spPr>
          <a:xfrm flipH="1">
            <a:off x="-931770" y="4881670"/>
            <a:ext cx="2493869" cy="2493869"/>
          </a:xfrm>
          <a:prstGeom prst="ellipse">
            <a:avLst/>
          </a:prstGeom>
          <a:solidFill>
            <a:schemeClr val="bg1"/>
          </a:solidFill>
          <a:ln>
            <a:noFill/>
            <a:headEnd type="none" w="med" len="med"/>
            <a:tailEnd type="none" w="med" len="med"/>
          </a:ln>
          <a:effectLst>
            <a:outerShdw blurRad="190500" algn="ctr" rotWithShape="0">
              <a:prstClr val="black">
                <a:alpha val="10000"/>
              </a:prstClr>
            </a:outerShdw>
          </a:effectLst>
        </p:spPr>
      </p:pic>
    </p:spTree>
    <p:extLst>
      <p:ext uri="{BB962C8B-B14F-4D97-AF65-F5344CB8AC3E}">
        <p14:creationId xmlns:p14="http://schemas.microsoft.com/office/powerpoint/2010/main" val="1751727248"/>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5" name="Group 124">
            <a:extLst>
              <a:ext uri="{FF2B5EF4-FFF2-40B4-BE49-F238E27FC236}">
                <a16:creationId xmlns:a16="http://schemas.microsoft.com/office/drawing/2014/main" id="{4EB48619-C054-4810-BE16-2780796C0F6D}"/>
              </a:ext>
            </a:extLst>
          </p:cNvPr>
          <p:cNvGrpSpPr/>
          <p:nvPr/>
        </p:nvGrpSpPr>
        <p:grpSpPr>
          <a:xfrm>
            <a:off x="5743575" y="1233102"/>
            <a:ext cx="704850" cy="704998"/>
            <a:chOff x="4776716" y="2660719"/>
            <a:chExt cx="1737097" cy="1737469"/>
          </a:xfrm>
          <a:solidFill>
            <a:schemeClr val="bg1"/>
          </a:solidFill>
        </p:grpSpPr>
        <p:sp>
          <p:nvSpPr>
            <p:cNvPr id="126" name="Oval 125">
              <a:extLst>
                <a:ext uri="{FF2B5EF4-FFF2-40B4-BE49-F238E27FC236}">
                  <a16:creationId xmlns:a16="http://schemas.microsoft.com/office/drawing/2014/main" id="{91983AE3-4689-437A-9C8A-1BE301E22365}"/>
                </a:ext>
              </a:extLst>
            </p:cNvPr>
            <p:cNvSpPr/>
            <p:nvPr/>
          </p:nvSpPr>
          <p:spPr bwMode="auto">
            <a:xfrm>
              <a:off x="4776716" y="2660719"/>
              <a:ext cx="1737097" cy="1737469"/>
            </a:xfrm>
            <a:prstGeom prst="ellipse">
              <a:avLst/>
            </a:prstGeom>
            <a:grp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127" name="Graphic 126">
              <a:extLst>
                <a:ext uri="{FF2B5EF4-FFF2-40B4-BE49-F238E27FC236}">
                  <a16:creationId xmlns:a16="http://schemas.microsoft.com/office/drawing/2014/main" id="{0CE3594D-84F1-4837-93DA-7F5BCDB24759}"/>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902591" y="3006165"/>
              <a:ext cx="1483069" cy="1224323"/>
            </a:xfrm>
            <a:prstGeom prst="rect">
              <a:avLst/>
            </a:prstGeom>
          </p:spPr>
        </p:pic>
      </p:grpSp>
      <p:sp>
        <p:nvSpPr>
          <p:cNvPr id="24" name="Freeform: Shape 23">
            <a:extLst>
              <a:ext uri="{FF2B5EF4-FFF2-40B4-BE49-F238E27FC236}">
                <a16:creationId xmlns:a16="http://schemas.microsoft.com/office/drawing/2014/main" id="{BFAEC3A7-1D59-42DE-9043-67DAE01AB021}"/>
              </a:ext>
            </a:extLst>
          </p:cNvPr>
          <p:cNvSpPr/>
          <p:nvPr/>
        </p:nvSpPr>
        <p:spPr>
          <a:xfrm>
            <a:off x="5877871" y="2377544"/>
            <a:ext cx="6313427" cy="4174069"/>
          </a:xfrm>
          <a:custGeom>
            <a:avLst/>
            <a:gdLst>
              <a:gd name="connsiteX0" fmla="*/ 6313428 w 6313427"/>
              <a:gd name="connsiteY0" fmla="*/ 0 h 4222158"/>
              <a:gd name="connsiteX1" fmla="*/ 6313428 w 6313427"/>
              <a:gd name="connsiteY1" fmla="*/ 4222158 h 4222158"/>
              <a:gd name="connsiteX2" fmla="*/ 117199 w 6313427"/>
              <a:gd name="connsiteY2" fmla="*/ 4222158 h 4222158"/>
              <a:gd name="connsiteX3" fmla="*/ 0 w 6313427"/>
              <a:gd name="connsiteY3" fmla="*/ 4019277 h 4222158"/>
              <a:gd name="connsiteX4" fmla="*/ 174363 w 6313427"/>
              <a:gd name="connsiteY4" fmla="*/ 3745324 h 4222158"/>
              <a:gd name="connsiteX5" fmla="*/ 70817 w 6313427"/>
              <a:gd name="connsiteY5" fmla="*/ 3409677 h 4222158"/>
              <a:gd name="connsiteX6" fmla="*/ 180807 w 6313427"/>
              <a:gd name="connsiteY6" fmla="*/ 3276656 h 4222158"/>
              <a:gd name="connsiteX7" fmla="*/ 75729 w 6313427"/>
              <a:gd name="connsiteY7" fmla="*/ 3169857 h 4222158"/>
              <a:gd name="connsiteX8" fmla="*/ 283268 w 6313427"/>
              <a:gd name="connsiteY8" fmla="*/ 2884164 h 4222158"/>
              <a:gd name="connsiteX9" fmla="*/ 111266 w 6313427"/>
              <a:gd name="connsiteY9" fmla="*/ 2689769 h 4222158"/>
              <a:gd name="connsiteX10" fmla="*/ 208751 w 6313427"/>
              <a:gd name="connsiteY10" fmla="*/ 2562681 h 4222158"/>
              <a:gd name="connsiteX11" fmla="*/ 137104 w 6313427"/>
              <a:gd name="connsiteY11" fmla="*/ 2246939 h 4222158"/>
              <a:gd name="connsiteX12" fmla="*/ 221957 w 6313427"/>
              <a:gd name="connsiteY12" fmla="*/ 2135355 h 4222158"/>
              <a:gd name="connsiteX13" fmla="*/ 72795 w 6313427"/>
              <a:gd name="connsiteY13" fmla="*/ 1990786 h 4222158"/>
              <a:gd name="connsiteX14" fmla="*/ 226806 w 6313427"/>
              <a:gd name="connsiteY14" fmla="*/ 1632172 h 4222158"/>
              <a:gd name="connsiteX15" fmla="*/ 131936 w 6313427"/>
              <a:gd name="connsiteY15" fmla="*/ 1400581 h 4222158"/>
              <a:gd name="connsiteX16" fmla="*/ 247732 w 6313427"/>
              <a:gd name="connsiteY16" fmla="*/ 1245485 h 4222158"/>
              <a:gd name="connsiteX17" fmla="*/ 227827 w 6313427"/>
              <a:gd name="connsiteY17" fmla="*/ 997243 h 4222158"/>
              <a:gd name="connsiteX18" fmla="*/ 91743 w 6313427"/>
              <a:gd name="connsiteY18" fmla="*/ 933061 h 4222158"/>
              <a:gd name="connsiteX19" fmla="*/ 101377 w 6313427"/>
              <a:gd name="connsiteY19" fmla="*/ 489913 h 4222158"/>
              <a:gd name="connsiteX20" fmla="*/ 204540 w 6313427"/>
              <a:gd name="connsiteY20" fmla="*/ 171364 h 4222158"/>
              <a:gd name="connsiteX21" fmla="*/ 117709 w 6313427"/>
              <a:gd name="connsiteY21" fmla="*/ 24371 h 4222158"/>
              <a:gd name="connsiteX22" fmla="*/ 127279 w 6313427"/>
              <a:gd name="connsiteY22" fmla="*/ 0 h 4222158"/>
              <a:gd name="connsiteX23" fmla="*/ 6313428 w 6313427"/>
              <a:gd name="connsiteY23" fmla="*/ 0 h 4222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313427" h="4222158">
                <a:moveTo>
                  <a:pt x="6313428" y="0"/>
                </a:moveTo>
                <a:lnTo>
                  <a:pt x="6313428" y="4222158"/>
                </a:lnTo>
                <a:lnTo>
                  <a:pt x="117199" y="4222158"/>
                </a:lnTo>
                <a:lnTo>
                  <a:pt x="0" y="4019277"/>
                </a:lnTo>
                <a:lnTo>
                  <a:pt x="174363" y="3745324"/>
                </a:lnTo>
                <a:lnTo>
                  <a:pt x="70817" y="3409677"/>
                </a:lnTo>
                <a:lnTo>
                  <a:pt x="180807" y="3276656"/>
                </a:lnTo>
                <a:lnTo>
                  <a:pt x="75729" y="3169857"/>
                </a:lnTo>
                <a:lnTo>
                  <a:pt x="283268" y="2884164"/>
                </a:lnTo>
                <a:lnTo>
                  <a:pt x="111266" y="2689769"/>
                </a:lnTo>
                <a:lnTo>
                  <a:pt x="208751" y="2562681"/>
                </a:lnTo>
                <a:lnTo>
                  <a:pt x="137104" y="2246939"/>
                </a:lnTo>
                <a:lnTo>
                  <a:pt x="221957" y="2135355"/>
                </a:lnTo>
                <a:lnTo>
                  <a:pt x="72795" y="1990786"/>
                </a:lnTo>
                <a:lnTo>
                  <a:pt x="226806" y="1632172"/>
                </a:lnTo>
                <a:lnTo>
                  <a:pt x="131936" y="1400581"/>
                </a:lnTo>
                <a:lnTo>
                  <a:pt x="247732" y="1245485"/>
                </a:lnTo>
                <a:lnTo>
                  <a:pt x="227827" y="997243"/>
                </a:lnTo>
                <a:lnTo>
                  <a:pt x="91743" y="933061"/>
                </a:lnTo>
                <a:lnTo>
                  <a:pt x="101377" y="489913"/>
                </a:lnTo>
                <a:lnTo>
                  <a:pt x="204540" y="171364"/>
                </a:lnTo>
                <a:lnTo>
                  <a:pt x="117709" y="24371"/>
                </a:lnTo>
                <a:lnTo>
                  <a:pt x="127279" y="0"/>
                </a:lnTo>
                <a:lnTo>
                  <a:pt x="6313428" y="0"/>
                </a:lnTo>
                <a:close/>
              </a:path>
            </a:pathLst>
          </a:custGeom>
          <a:solidFill>
            <a:schemeClr val="bg1">
              <a:lumMod val="95000"/>
            </a:schemeClr>
          </a:solidFill>
          <a:ln w="63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82828"/>
              </a:solidFill>
              <a:effectLst/>
              <a:uLnTx/>
              <a:uFillTx/>
              <a:latin typeface="Segoe UI"/>
              <a:ea typeface="+mn-ea"/>
              <a:cs typeface="+mn-cs"/>
            </a:endParaRPr>
          </a:p>
        </p:txBody>
      </p:sp>
      <p:pic>
        <p:nvPicPr>
          <p:cNvPr id="26" name="Picture 2" descr="Download Microsoft Teams Logo in SVG Vector or PNG File Format - Logo.wine">
            <a:extLst>
              <a:ext uri="{FF2B5EF4-FFF2-40B4-BE49-F238E27FC236}">
                <a16:creationId xmlns:a16="http://schemas.microsoft.com/office/drawing/2014/main" id="{76FE47D2-B738-406E-B6BA-FD7814F3E7B1}"/>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4286" t="16246" r="24970" b="16246"/>
          <a:stretch/>
        </p:blipFill>
        <p:spPr bwMode="auto">
          <a:xfrm>
            <a:off x="6714858" y="3798808"/>
            <a:ext cx="724248" cy="642338"/>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4">
            <a:extLst>
              <a:ext uri="{FF2B5EF4-FFF2-40B4-BE49-F238E27FC236}">
                <a16:creationId xmlns:a16="http://schemas.microsoft.com/office/drawing/2014/main" id="{49F94780-3948-4B22-A249-15EB6ABE1D97}"/>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28198" b="27900"/>
          <a:stretch/>
        </p:blipFill>
        <p:spPr bwMode="auto">
          <a:xfrm>
            <a:off x="7852346" y="2793202"/>
            <a:ext cx="2245014" cy="407198"/>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See the source image">
            <a:extLst>
              <a:ext uri="{FF2B5EF4-FFF2-40B4-BE49-F238E27FC236}">
                <a16:creationId xmlns:a16="http://schemas.microsoft.com/office/drawing/2014/main" id="{37C3751F-AD68-4304-B130-64D77C001EE3}"/>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18132" t="3675" r="14831" b="4987"/>
          <a:stretch/>
        </p:blipFill>
        <p:spPr bwMode="auto">
          <a:xfrm>
            <a:off x="9665932" y="3773927"/>
            <a:ext cx="509662" cy="69210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See the source image">
            <a:extLst>
              <a:ext uri="{FF2B5EF4-FFF2-40B4-BE49-F238E27FC236}">
                <a16:creationId xmlns:a16="http://schemas.microsoft.com/office/drawing/2014/main" id="{24BDBA58-438E-4BE8-AD0F-87AB625E58A0}"/>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25919" t="15345" r="24907" b="16706"/>
          <a:stretch/>
        </p:blipFill>
        <p:spPr bwMode="auto">
          <a:xfrm>
            <a:off x="10922688" y="3758513"/>
            <a:ext cx="784766" cy="722928"/>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See the source image">
            <a:extLst>
              <a:ext uri="{FF2B5EF4-FFF2-40B4-BE49-F238E27FC236}">
                <a16:creationId xmlns:a16="http://schemas.microsoft.com/office/drawing/2014/main" id="{267BC5F5-8829-4333-BC6E-C37967571125}"/>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19023" r="18170"/>
          <a:stretch/>
        </p:blipFill>
        <p:spPr bwMode="auto">
          <a:xfrm>
            <a:off x="8186199" y="3791894"/>
            <a:ext cx="732640" cy="656166"/>
          </a:xfrm>
          <a:prstGeom prst="rect">
            <a:avLst/>
          </a:prstGeom>
          <a:noFill/>
          <a:extLst>
            <a:ext uri="{909E8E84-426E-40DD-AFC4-6F175D3DCCD1}">
              <a14:hiddenFill xmlns:a14="http://schemas.microsoft.com/office/drawing/2010/main">
                <a:solidFill>
                  <a:srgbClr val="FFFFFF"/>
                </a:solidFill>
              </a14:hiddenFill>
            </a:ext>
          </a:extLst>
        </p:spPr>
      </p:pic>
      <p:sp>
        <p:nvSpPr>
          <p:cNvPr id="22" name="Freeform: Shape 21">
            <a:extLst>
              <a:ext uri="{FF2B5EF4-FFF2-40B4-BE49-F238E27FC236}">
                <a16:creationId xmlns:a16="http://schemas.microsoft.com/office/drawing/2014/main" id="{8E4B55A6-4B9F-4476-9F26-DD8BFAF35544}"/>
              </a:ext>
            </a:extLst>
          </p:cNvPr>
          <p:cNvSpPr/>
          <p:nvPr/>
        </p:nvSpPr>
        <p:spPr>
          <a:xfrm>
            <a:off x="0" y="2377544"/>
            <a:ext cx="6281527" cy="4174069"/>
          </a:xfrm>
          <a:custGeom>
            <a:avLst/>
            <a:gdLst>
              <a:gd name="connsiteX0" fmla="*/ 6003938 w 6281527"/>
              <a:gd name="connsiteY0" fmla="*/ 4018001 h 4222158"/>
              <a:gd name="connsiteX1" fmla="*/ 6121903 w 6281527"/>
              <a:gd name="connsiteY1" fmla="*/ 4222158 h 4222158"/>
              <a:gd name="connsiteX2" fmla="*/ 0 w 6281527"/>
              <a:gd name="connsiteY2" fmla="*/ 4222158 h 4222158"/>
              <a:gd name="connsiteX3" fmla="*/ 0 w 6281527"/>
              <a:gd name="connsiteY3" fmla="*/ 0 h 4222158"/>
              <a:gd name="connsiteX4" fmla="*/ 6136066 w 6281527"/>
              <a:gd name="connsiteY4" fmla="*/ 0 h 4222158"/>
              <a:gd name="connsiteX5" fmla="*/ 6124710 w 6281527"/>
              <a:gd name="connsiteY5" fmla="*/ 28901 h 4222158"/>
              <a:gd name="connsiteX6" fmla="*/ 6212497 w 6281527"/>
              <a:gd name="connsiteY6" fmla="*/ 177489 h 4222158"/>
              <a:gd name="connsiteX7" fmla="*/ 6114119 w 6281527"/>
              <a:gd name="connsiteY7" fmla="*/ 481300 h 4222158"/>
              <a:gd name="connsiteX8" fmla="*/ 6103592 w 6281527"/>
              <a:gd name="connsiteY8" fmla="*/ 965088 h 4222158"/>
              <a:gd name="connsiteX9" fmla="*/ 6242930 w 6281527"/>
              <a:gd name="connsiteY9" fmla="*/ 1030802 h 4222158"/>
              <a:gd name="connsiteX10" fmla="*/ 6258879 w 6281527"/>
              <a:gd name="connsiteY10" fmla="*/ 1230365 h 4222158"/>
              <a:gd name="connsiteX11" fmla="*/ 6137342 w 6281527"/>
              <a:gd name="connsiteY11" fmla="*/ 1393180 h 4222158"/>
              <a:gd name="connsiteX12" fmla="*/ 6235018 w 6281527"/>
              <a:gd name="connsiteY12" fmla="*/ 1631725 h 4222158"/>
              <a:gd name="connsiteX13" fmla="*/ 6075584 w 6281527"/>
              <a:gd name="connsiteY13" fmla="*/ 2002972 h 4222158"/>
              <a:gd name="connsiteX14" fmla="*/ 6217474 w 6281527"/>
              <a:gd name="connsiteY14" fmla="*/ 2140523 h 4222158"/>
              <a:gd name="connsiteX15" fmla="*/ 6145636 w 6281527"/>
              <a:gd name="connsiteY15" fmla="*/ 2234945 h 4222158"/>
              <a:gd name="connsiteX16" fmla="*/ 6217218 w 6281527"/>
              <a:gd name="connsiteY16" fmla="*/ 2550623 h 4222158"/>
              <a:gd name="connsiteX17" fmla="*/ 6108760 w 6281527"/>
              <a:gd name="connsiteY17" fmla="*/ 2692129 h 4222158"/>
              <a:gd name="connsiteX18" fmla="*/ 6281528 w 6281527"/>
              <a:gd name="connsiteY18" fmla="*/ 2887291 h 4222158"/>
              <a:gd name="connsiteX19" fmla="*/ 6072650 w 6281527"/>
              <a:gd name="connsiteY19" fmla="*/ 3174833 h 4222158"/>
              <a:gd name="connsiteX20" fmla="*/ 6175749 w 6281527"/>
              <a:gd name="connsiteY20" fmla="*/ 3279591 h 4222158"/>
              <a:gd name="connsiteX21" fmla="*/ 6077562 w 6281527"/>
              <a:gd name="connsiteY21" fmla="*/ 3398449 h 4222158"/>
              <a:gd name="connsiteX22" fmla="*/ 6182193 w 6281527"/>
              <a:gd name="connsiteY22" fmla="*/ 3737796 h 4222158"/>
              <a:gd name="connsiteX23" fmla="*/ 6003938 w 6281527"/>
              <a:gd name="connsiteY23" fmla="*/ 4018001 h 4222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281527" h="4222158">
                <a:moveTo>
                  <a:pt x="6003938" y="4018001"/>
                </a:moveTo>
                <a:lnTo>
                  <a:pt x="6121903" y="4222158"/>
                </a:lnTo>
                <a:lnTo>
                  <a:pt x="0" y="4222158"/>
                </a:lnTo>
                <a:lnTo>
                  <a:pt x="0" y="0"/>
                </a:lnTo>
                <a:lnTo>
                  <a:pt x="6136066" y="0"/>
                </a:lnTo>
                <a:lnTo>
                  <a:pt x="6124710" y="28901"/>
                </a:lnTo>
                <a:lnTo>
                  <a:pt x="6212497" y="177489"/>
                </a:lnTo>
                <a:lnTo>
                  <a:pt x="6114119" y="481300"/>
                </a:lnTo>
                <a:lnTo>
                  <a:pt x="6103592" y="965088"/>
                </a:lnTo>
                <a:lnTo>
                  <a:pt x="6242930" y="1030802"/>
                </a:lnTo>
                <a:lnTo>
                  <a:pt x="6258879" y="1230365"/>
                </a:lnTo>
                <a:lnTo>
                  <a:pt x="6137342" y="1393180"/>
                </a:lnTo>
                <a:lnTo>
                  <a:pt x="6235018" y="1631725"/>
                </a:lnTo>
                <a:lnTo>
                  <a:pt x="6075584" y="2002972"/>
                </a:lnTo>
                <a:lnTo>
                  <a:pt x="6217474" y="2140523"/>
                </a:lnTo>
                <a:lnTo>
                  <a:pt x="6145636" y="2234945"/>
                </a:lnTo>
                <a:lnTo>
                  <a:pt x="6217218" y="2550623"/>
                </a:lnTo>
                <a:lnTo>
                  <a:pt x="6108760" y="2692129"/>
                </a:lnTo>
                <a:lnTo>
                  <a:pt x="6281528" y="2887291"/>
                </a:lnTo>
                <a:lnTo>
                  <a:pt x="6072650" y="3174833"/>
                </a:lnTo>
                <a:lnTo>
                  <a:pt x="6175749" y="3279591"/>
                </a:lnTo>
                <a:lnTo>
                  <a:pt x="6077562" y="3398449"/>
                </a:lnTo>
                <a:lnTo>
                  <a:pt x="6182193" y="3737796"/>
                </a:lnTo>
                <a:lnTo>
                  <a:pt x="6003938" y="4018001"/>
                </a:lnTo>
                <a:close/>
              </a:path>
            </a:pathLst>
          </a:custGeom>
          <a:solidFill>
            <a:srgbClr val="F2F2F2"/>
          </a:solidFill>
          <a:ln w="63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82828"/>
              </a:solidFill>
              <a:effectLst/>
              <a:uLnTx/>
              <a:uFillTx/>
              <a:latin typeface="Segoe UI"/>
              <a:ea typeface="+mn-ea"/>
              <a:cs typeface="+mn-cs"/>
            </a:endParaRPr>
          </a:p>
        </p:txBody>
      </p:sp>
      <p:cxnSp>
        <p:nvCxnSpPr>
          <p:cNvPr id="20" name="Straight Connector 19">
            <a:extLst>
              <a:ext uri="{FF2B5EF4-FFF2-40B4-BE49-F238E27FC236}">
                <a16:creationId xmlns:a16="http://schemas.microsoft.com/office/drawing/2014/main" id="{C0F40551-9E02-46E8-9061-3BE231CC97C4}"/>
              </a:ext>
            </a:extLst>
          </p:cNvPr>
          <p:cNvCxnSpPr>
            <a:cxnSpLocks/>
          </p:cNvCxnSpPr>
          <p:nvPr/>
        </p:nvCxnSpPr>
        <p:spPr>
          <a:xfrm>
            <a:off x="0" y="6551613"/>
            <a:ext cx="6115050" cy="0"/>
          </a:xfrm>
          <a:prstGeom prst="line">
            <a:avLst/>
          </a:prstGeom>
          <a:solidFill>
            <a:schemeClr val="bg1">
              <a:lumMod val="95000"/>
            </a:schemeClr>
          </a:solidFill>
          <a:ln>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94" name="Group 93">
            <a:extLst>
              <a:ext uri="{FF2B5EF4-FFF2-40B4-BE49-F238E27FC236}">
                <a16:creationId xmlns:a16="http://schemas.microsoft.com/office/drawing/2014/main" id="{78316A36-6F1A-4234-9018-67EC3E50FB21}"/>
              </a:ext>
            </a:extLst>
          </p:cNvPr>
          <p:cNvGrpSpPr/>
          <p:nvPr/>
        </p:nvGrpSpPr>
        <p:grpSpPr>
          <a:xfrm>
            <a:off x="4362582" y="3362098"/>
            <a:ext cx="859634" cy="858028"/>
            <a:chOff x="4833596" y="2891761"/>
            <a:chExt cx="552450" cy="551418"/>
          </a:xfrm>
        </p:grpSpPr>
        <p:sp>
          <p:nvSpPr>
            <p:cNvPr id="48" name="Oval 47">
              <a:extLst>
                <a:ext uri="{FF2B5EF4-FFF2-40B4-BE49-F238E27FC236}">
                  <a16:creationId xmlns:a16="http://schemas.microsoft.com/office/drawing/2014/main" id="{B9316932-7DEB-4C20-AF99-8F8B2B14FF3D}"/>
                </a:ext>
              </a:extLst>
            </p:cNvPr>
            <p:cNvSpPr/>
            <p:nvPr/>
          </p:nvSpPr>
          <p:spPr bwMode="auto">
            <a:xfrm>
              <a:off x="4833596" y="2891761"/>
              <a:ext cx="552450" cy="551418"/>
            </a:xfrm>
            <a:prstGeom prst="ellipse">
              <a:avLst/>
            </a:prstGeom>
            <a:solidFill>
              <a:schemeClr val="bg1"/>
            </a:solidFill>
            <a:ln w="63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grpSp>
          <p:nvGrpSpPr>
            <p:cNvPr id="49" name="Group 48">
              <a:extLst>
                <a:ext uri="{FF2B5EF4-FFF2-40B4-BE49-F238E27FC236}">
                  <a16:creationId xmlns:a16="http://schemas.microsoft.com/office/drawing/2014/main" id="{AF7A5C4F-5D75-4794-8245-67296B4B8EE4}"/>
                </a:ext>
              </a:extLst>
            </p:cNvPr>
            <p:cNvGrpSpPr/>
            <p:nvPr/>
          </p:nvGrpSpPr>
          <p:grpSpPr>
            <a:xfrm>
              <a:off x="4958229" y="2982193"/>
              <a:ext cx="303184" cy="370554"/>
              <a:chOff x="-1249545" y="3212391"/>
              <a:chExt cx="348336" cy="425740"/>
            </a:xfrm>
          </p:grpSpPr>
          <p:sp>
            <p:nvSpPr>
              <p:cNvPr id="50" name="Freeform: Shape 49">
                <a:extLst>
                  <a:ext uri="{FF2B5EF4-FFF2-40B4-BE49-F238E27FC236}">
                    <a16:creationId xmlns:a16="http://schemas.microsoft.com/office/drawing/2014/main" id="{C1355E16-E802-4159-BB01-5381EC302B94}"/>
                  </a:ext>
                </a:extLst>
              </p:cNvPr>
              <p:cNvSpPr/>
              <p:nvPr/>
            </p:nvSpPr>
            <p:spPr>
              <a:xfrm>
                <a:off x="-1249545" y="3212391"/>
                <a:ext cx="348336" cy="425740"/>
              </a:xfrm>
              <a:custGeom>
                <a:avLst/>
                <a:gdLst>
                  <a:gd name="connsiteX0" fmla="*/ 255118 w 257175"/>
                  <a:gd name="connsiteY0" fmla="*/ 171654 h 314325"/>
                  <a:gd name="connsiteX1" fmla="*/ 229400 w 257175"/>
                  <a:gd name="connsiteY1" fmla="*/ 126887 h 314325"/>
                  <a:gd name="connsiteX2" fmla="*/ 229400 w 257175"/>
                  <a:gd name="connsiteY2" fmla="*/ 124982 h 314325"/>
                  <a:gd name="connsiteX3" fmla="*/ 175108 w 257175"/>
                  <a:gd name="connsiteY3" fmla="*/ 23064 h 314325"/>
                  <a:gd name="connsiteX4" fmla="*/ 61760 w 257175"/>
                  <a:gd name="connsiteY4" fmla="*/ 23064 h 314325"/>
                  <a:gd name="connsiteX5" fmla="*/ 7468 w 257175"/>
                  <a:gd name="connsiteY5" fmla="*/ 124982 h 314325"/>
                  <a:gd name="connsiteX6" fmla="*/ 51283 w 257175"/>
                  <a:gd name="connsiteY6" fmla="*/ 215469 h 314325"/>
                  <a:gd name="connsiteX7" fmla="*/ 51283 w 257175"/>
                  <a:gd name="connsiteY7" fmla="*/ 309767 h 314325"/>
                  <a:gd name="connsiteX8" fmla="*/ 167488 w 257175"/>
                  <a:gd name="connsiteY8" fmla="*/ 309767 h 314325"/>
                  <a:gd name="connsiteX9" fmla="*/ 167488 w 257175"/>
                  <a:gd name="connsiteY9" fmla="*/ 264999 h 314325"/>
                  <a:gd name="connsiteX10" fmla="*/ 185585 w 257175"/>
                  <a:gd name="connsiteY10" fmla="*/ 264999 h 314325"/>
                  <a:gd name="connsiteX11" fmla="*/ 217018 w 257175"/>
                  <a:gd name="connsiteY11" fmla="*/ 251664 h 314325"/>
                  <a:gd name="connsiteX12" fmla="*/ 229400 w 257175"/>
                  <a:gd name="connsiteY12" fmla="*/ 220232 h 314325"/>
                  <a:gd name="connsiteX13" fmla="*/ 229400 w 257175"/>
                  <a:gd name="connsiteY13" fmla="*/ 197372 h 314325"/>
                  <a:gd name="connsiteX14" fmla="*/ 245593 w 257175"/>
                  <a:gd name="connsiteY14" fmla="*/ 197372 h 314325"/>
                  <a:gd name="connsiteX15" fmla="*/ 255118 w 257175"/>
                  <a:gd name="connsiteY15" fmla="*/ 171654 h 314325"/>
                  <a:gd name="connsiteX16" fmla="*/ 255118 w 257175"/>
                  <a:gd name="connsiteY16" fmla="*/ 171654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175" h="314325">
                    <a:moveTo>
                      <a:pt x="255118" y="171654"/>
                    </a:moveTo>
                    <a:lnTo>
                      <a:pt x="229400" y="126887"/>
                    </a:lnTo>
                    <a:lnTo>
                      <a:pt x="229400" y="124982"/>
                    </a:lnTo>
                    <a:cubicBezTo>
                      <a:pt x="231305" y="83072"/>
                      <a:pt x="210350" y="44019"/>
                      <a:pt x="175108" y="23064"/>
                    </a:cubicBezTo>
                    <a:cubicBezTo>
                      <a:pt x="139865" y="2109"/>
                      <a:pt x="97002" y="2109"/>
                      <a:pt x="61760" y="23064"/>
                    </a:cubicBezTo>
                    <a:cubicBezTo>
                      <a:pt x="26518" y="44019"/>
                      <a:pt x="5563" y="83072"/>
                      <a:pt x="7468" y="124982"/>
                    </a:cubicBezTo>
                    <a:cubicBezTo>
                      <a:pt x="7468" y="160224"/>
                      <a:pt x="23660" y="194514"/>
                      <a:pt x="51283" y="215469"/>
                    </a:cubicBezTo>
                    <a:lnTo>
                      <a:pt x="51283" y="309767"/>
                    </a:lnTo>
                    <a:lnTo>
                      <a:pt x="167488" y="309767"/>
                    </a:lnTo>
                    <a:lnTo>
                      <a:pt x="167488" y="264999"/>
                    </a:lnTo>
                    <a:lnTo>
                      <a:pt x="185585" y="264999"/>
                    </a:lnTo>
                    <a:cubicBezTo>
                      <a:pt x="197015" y="264999"/>
                      <a:pt x="208445" y="260237"/>
                      <a:pt x="217018" y="251664"/>
                    </a:cubicBezTo>
                    <a:cubicBezTo>
                      <a:pt x="225590" y="243092"/>
                      <a:pt x="229400" y="231662"/>
                      <a:pt x="229400" y="220232"/>
                    </a:cubicBezTo>
                    <a:lnTo>
                      <a:pt x="229400" y="197372"/>
                    </a:lnTo>
                    <a:lnTo>
                      <a:pt x="245593" y="197372"/>
                    </a:lnTo>
                    <a:cubicBezTo>
                      <a:pt x="255118" y="196419"/>
                      <a:pt x="263690" y="184989"/>
                      <a:pt x="255118" y="171654"/>
                    </a:cubicBezTo>
                    <a:lnTo>
                      <a:pt x="255118" y="171654"/>
                    </a:lnTo>
                    <a:close/>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nvGrpSpPr>
              <p:cNvPr id="51" name="Group 50">
                <a:extLst>
                  <a:ext uri="{FF2B5EF4-FFF2-40B4-BE49-F238E27FC236}">
                    <a16:creationId xmlns:a16="http://schemas.microsoft.com/office/drawing/2014/main" id="{90564DDA-A35D-4DD8-AB64-FC717D01DFAE}"/>
                  </a:ext>
                </a:extLst>
              </p:cNvPr>
              <p:cNvGrpSpPr/>
              <p:nvPr/>
            </p:nvGrpSpPr>
            <p:grpSpPr>
              <a:xfrm>
                <a:off x="-1191190" y="3262942"/>
                <a:ext cx="195471" cy="201777"/>
                <a:chOff x="6979556" y="4967290"/>
                <a:chExt cx="295275" cy="304800"/>
              </a:xfrm>
            </p:grpSpPr>
            <p:sp>
              <p:nvSpPr>
                <p:cNvPr id="52" name="Freeform: Shape 51">
                  <a:extLst>
                    <a:ext uri="{FF2B5EF4-FFF2-40B4-BE49-F238E27FC236}">
                      <a16:creationId xmlns:a16="http://schemas.microsoft.com/office/drawing/2014/main" id="{AF8B46FD-433C-438A-BAE2-C9C15792A4C7}"/>
                    </a:ext>
                  </a:extLst>
                </p:cNvPr>
                <p:cNvSpPr/>
                <p:nvPr/>
              </p:nvSpPr>
              <p:spPr>
                <a:xfrm>
                  <a:off x="7050993" y="5045395"/>
                  <a:ext cx="152400" cy="152400"/>
                </a:xfrm>
                <a:custGeom>
                  <a:avLst/>
                  <a:gdLst>
                    <a:gd name="connsiteX0" fmla="*/ 150223 w 152400"/>
                    <a:gd name="connsiteY0" fmla="*/ 78786 h 152400"/>
                    <a:gd name="connsiteX1" fmla="*/ 78786 w 152400"/>
                    <a:gd name="connsiteY1" fmla="*/ 150223 h 152400"/>
                    <a:gd name="connsiteX2" fmla="*/ 7348 w 152400"/>
                    <a:gd name="connsiteY2" fmla="*/ 78786 h 152400"/>
                    <a:gd name="connsiteX3" fmla="*/ 78786 w 152400"/>
                    <a:gd name="connsiteY3" fmla="*/ 7348 h 152400"/>
                    <a:gd name="connsiteX4" fmla="*/ 150223 w 152400"/>
                    <a:gd name="connsiteY4" fmla="*/ 78786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0223" y="78786"/>
                      </a:moveTo>
                      <a:cubicBezTo>
                        <a:pt x="150223" y="118239"/>
                        <a:pt x="118240" y="150223"/>
                        <a:pt x="78786" y="150223"/>
                      </a:cubicBezTo>
                      <a:cubicBezTo>
                        <a:pt x="39332" y="150223"/>
                        <a:pt x="7348" y="118239"/>
                        <a:pt x="7348" y="78786"/>
                      </a:cubicBezTo>
                      <a:cubicBezTo>
                        <a:pt x="7348" y="39332"/>
                        <a:pt x="39332" y="7348"/>
                        <a:pt x="78786" y="7348"/>
                      </a:cubicBezTo>
                      <a:cubicBezTo>
                        <a:pt x="118240" y="7348"/>
                        <a:pt x="150223" y="39332"/>
                        <a:pt x="150223" y="78786"/>
                      </a:cubicBezTo>
                      <a:close/>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53" name="Freeform: Shape 52">
                  <a:extLst>
                    <a:ext uri="{FF2B5EF4-FFF2-40B4-BE49-F238E27FC236}">
                      <a16:creationId xmlns:a16="http://schemas.microsoft.com/office/drawing/2014/main" id="{B29A473C-A849-4C1B-9C89-CFD4991C0849}"/>
                    </a:ext>
                  </a:extLst>
                </p:cNvPr>
                <p:cNvSpPr/>
                <p:nvPr/>
              </p:nvSpPr>
              <p:spPr>
                <a:xfrm>
                  <a:off x="6979556" y="4967290"/>
                  <a:ext cx="295275" cy="304800"/>
                </a:xfrm>
                <a:custGeom>
                  <a:avLst/>
                  <a:gdLst>
                    <a:gd name="connsiteX0" fmla="*/ 274048 w 295275"/>
                    <a:gd name="connsiteY0" fmla="*/ 156891 h 304800"/>
                    <a:gd name="connsiteX1" fmla="*/ 268333 w 295275"/>
                    <a:gd name="connsiteY1" fmla="*/ 118791 h 304800"/>
                    <a:gd name="connsiteX2" fmla="*/ 292145 w 295275"/>
                    <a:gd name="connsiteY2" fmla="*/ 104503 h 304800"/>
                    <a:gd name="connsiteX3" fmla="*/ 266428 w 295275"/>
                    <a:gd name="connsiteY3" fmla="*/ 58783 h 304800"/>
                    <a:gd name="connsiteX4" fmla="*/ 241663 w 295275"/>
                    <a:gd name="connsiteY4" fmla="*/ 73071 h 304800"/>
                    <a:gd name="connsiteX5" fmla="*/ 175941 w 295275"/>
                    <a:gd name="connsiteY5" fmla="*/ 34971 h 304800"/>
                    <a:gd name="connsiteX6" fmla="*/ 175941 w 295275"/>
                    <a:gd name="connsiteY6" fmla="*/ 7348 h 304800"/>
                    <a:gd name="connsiteX7" fmla="*/ 123553 w 295275"/>
                    <a:gd name="connsiteY7" fmla="*/ 7348 h 304800"/>
                    <a:gd name="connsiteX8" fmla="*/ 123553 w 295275"/>
                    <a:gd name="connsiteY8" fmla="*/ 34971 h 304800"/>
                    <a:gd name="connsiteX9" fmla="*/ 57830 w 295275"/>
                    <a:gd name="connsiteY9" fmla="*/ 73071 h 304800"/>
                    <a:gd name="connsiteX10" fmla="*/ 33066 w 295275"/>
                    <a:gd name="connsiteY10" fmla="*/ 58783 h 304800"/>
                    <a:gd name="connsiteX11" fmla="*/ 7348 w 295275"/>
                    <a:gd name="connsiteY11" fmla="*/ 104503 h 304800"/>
                    <a:gd name="connsiteX12" fmla="*/ 31161 w 295275"/>
                    <a:gd name="connsiteY12" fmla="*/ 118791 h 304800"/>
                    <a:gd name="connsiteX13" fmla="*/ 25445 w 295275"/>
                    <a:gd name="connsiteY13" fmla="*/ 156891 h 304800"/>
                    <a:gd name="connsiteX14" fmla="*/ 31161 w 295275"/>
                    <a:gd name="connsiteY14" fmla="*/ 194991 h 304800"/>
                    <a:gd name="connsiteX15" fmla="*/ 7348 w 295275"/>
                    <a:gd name="connsiteY15" fmla="*/ 209278 h 304800"/>
                    <a:gd name="connsiteX16" fmla="*/ 33066 w 295275"/>
                    <a:gd name="connsiteY16" fmla="*/ 254998 h 304800"/>
                    <a:gd name="connsiteX17" fmla="*/ 57830 w 295275"/>
                    <a:gd name="connsiteY17" fmla="*/ 240711 h 304800"/>
                    <a:gd name="connsiteX18" fmla="*/ 123553 w 295275"/>
                    <a:gd name="connsiteY18" fmla="*/ 278811 h 304800"/>
                    <a:gd name="connsiteX19" fmla="*/ 123553 w 295275"/>
                    <a:gd name="connsiteY19" fmla="*/ 306433 h 304800"/>
                    <a:gd name="connsiteX20" fmla="*/ 175941 w 295275"/>
                    <a:gd name="connsiteY20" fmla="*/ 306433 h 304800"/>
                    <a:gd name="connsiteX21" fmla="*/ 175941 w 295275"/>
                    <a:gd name="connsiteY21" fmla="*/ 278811 h 304800"/>
                    <a:gd name="connsiteX22" fmla="*/ 241663 w 295275"/>
                    <a:gd name="connsiteY22" fmla="*/ 240711 h 304800"/>
                    <a:gd name="connsiteX23" fmla="*/ 266428 w 295275"/>
                    <a:gd name="connsiteY23" fmla="*/ 254998 h 304800"/>
                    <a:gd name="connsiteX24" fmla="*/ 292145 w 295275"/>
                    <a:gd name="connsiteY24" fmla="*/ 209278 h 304800"/>
                    <a:gd name="connsiteX25" fmla="*/ 268333 w 295275"/>
                    <a:gd name="connsiteY25" fmla="*/ 194991 h 304800"/>
                    <a:gd name="connsiteX26" fmla="*/ 274048 w 295275"/>
                    <a:gd name="connsiteY26" fmla="*/ 15689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5275" h="304800">
                      <a:moveTo>
                        <a:pt x="274048" y="156891"/>
                      </a:moveTo>
                      <a:cubicBezTo>
                        <a:pt x="274048" y="143556"/>
                        <a:pt x="272143" y="131173"/>
                        <a:pt x="268333" y="118791"/>
                      </a:cubicBezTo>
                      <a:lnTo>
                        <a:pt x="292145" y="104503"/>
                      </a:lnTo>
                      <a:lnTo>
                        <a:pt x="266428" y="58783"/>
                      </a:lnTo>
                      <a:lnTo>
                        <a:pt x="241663" y="73071"/>
                      </a:lnTo>
                      <a:cubicBezTo>
                        <a:pt x="224518" y="54021"/>
                        <a:pt x="201658" y="40686"/>
                        <a:pt x="175941" y="34971"/>
                      </a:cubicBezTo>
                      <a:lnTo>
                        <a:pt x="175941" y="7348"/>
                      </a:lnTo>
                      <a:lnTo>
                        <a:pt x="123553" y="7348"/>
                      </a:lnTo>
                      <a:lnTo>
                        <a:pt x="123553" y="34971"/>
                      </a:lnTo>
                      <a:cubicBezTo>
                        <a:pt x="97836" y="40686"/>
                        <a:pt x="74975" y="54021"/>
                        <a:pt x="57830" y="73071"/>
                      </a:cubicBezTo>
                      <a:lnTo>
                        <a:pt x="33066" y="58783"/>
                      </a:lnTo>
                      <a:lnTo>
                        <a:pt x="7348" y="104503"/>
                      </a:lnTo>
                      <a:lnTo>
                        <a:pt x="31161" y="118791"/>
                      </a:lnTo>
                      <a:cubicBezTo>
                        <a:pt x="27350" y="131173"/>
                        <a:pt x="25445" y="143556"/>
                        <a:pt x="25445" y="156891"/>
                      </a:cubicBezTo>
                      <a:cubicBezTo>
                        <a:pt x="25445" y="170226"/>
                        <a:pt x="27350" y="182608"/>
                        <a:pt x="31161" y="194991"/>
                      </a:cubicBezTo>
                      <a:lnTo>
                        <a:pt x="7348" y="209278"/>
                      </a:lnTo>
                      <a:lnTo>
                        <a:pt x="33066" y="254998"/>
                      </a:lnTo>
                      <a:lnTo>
                        <a:pt x="57830" y="240711"/>
                      </a:lnTo>
                      <a:cubicBezTo>
                        <a:pt x="74975" y="259761"/>
                        <a:pt x="97836" y="273096"/>
                        <a:pt x="123553" y="278811"/>
                      </a:cubicBezTo>
                      <a:lnTo>
                        <a:pt x="123553" y="306433"/>
                      </a:lnTo>
                      <a:lnTo>
                        <a:pt x="175941" y="306433"/>
                      </a:lnTo>
                      <a:lnTo>
                        <a:pt x="175941" y="278811"/>
                      </a:lnTo>
                      <a:cubicBezTo>
                        <a:pt x="201658" y="273096"/>
                        <a:pt x="224518" y="259761"/>
                        <a:pt x="241663" y="240711"/>
                      </a:cubicBezTo>
                      <a:lnTo>
                        <a:pt x="266428" y="254998"/>
                      </a:lnTo>
                      <a:lnTo>
                        <a:pt x="292145" y="209278"/>
                      </a:lnTo>
                      <a:lnTo>
                        <a:pt x="268333" y="194991"/>
                      </a:lnTo>
                      <a:cubicBezTo>
                        <a:pt x="272143" y="183561"/>
                        <a:pt x="274048" y="170226"/>
                        <a:pt x="274048" y="156891"/>
                      </a:cubicBezTo>
                      <a:close/>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grpSp>
      <p:sp>
        <p:nvSpPr>
          <p:cNvPr id="4" name="!!Rectangle 3">
            <a:extLst>
              <a:ext uri="{FF2B5EF4-FFF2-40B4-BE49-F238E27FC236}">
                <a16:creationId xmlns:a16="http://schemas.microsoft.com/office/drawing/2014/main" id="{AA7B0CEF-52C6-455F-8905-D22BEED2A3E7}"/>
              </a:ext>
            </a:extLst>
          </p:cNvPr>
          <p:cNvSpPr>
            <a:spLocks/>
          </p:cNvSpPr>
          <p:nvPr/>
        </p:nvSpPr>
        <p:spPr>
          <a:xfrm>
            <a:off x="3904636" y="4372804"/>
            <a:ext cx="1792986" cy="430887"/>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82828"/>
                </a:solidFill>
                <a:effectLst/>
                <a:uLnTx/>
                <a:uFillTx/>
                <a:latin typeface="Segoe UI Semibold"/>
                <a:ea typeface="Segoe UI" pitchFamily="34" charset="0"/>
                <a:cs typeface="Segoe UI" pitchFamily="34" charset="0"/>
              </a:rPr>
              <a:t>Learning Management Systems</a:t>
            </a:r>
            <a:endParaRPr kumimoji="0" lang="en-US" sz="1400" b="0" i="0" u="none" strike="noStrike" kern="1200" cap="none" spc="0" normalizeH="0" baseline="0" noProof="0">
              <a:ln>
                <a:noFill/>
              </a:ln>
              <a:solidFill>
                <a:srgbClr val="282828"/>
              </a:solidFill>
              <a:effectLst/>
              <a:uLnTx/>
              <a:uFillTx/>
              <a:latin typeface="Segoe UI Semibold"/>
              <a:ea typeface="+mn-ea"/>
              <a:cs typeface="+mn-cs"/>
            </a:endParaRPr>
          </a:p>
        </p:txBody>
      </p:sp>
      <p:sp>
        <p:nvSpPr>
          <p:cNvPr id="10" name="Rectangle 9">
            <a:extLst>
              <a:ext uri="{FF2B5EF4-FFF2-40B4-BE49-F238E27FC236}">
                <a16:creationId xmlns:a16="http://schemas.microsoft.com/office/drawing/2014/main" id="{50B413A1-5031-425F-816B-ED99376B7026}"/>
              </a:ext>
            </a:extLst>
          </p:cNvPr>
          <p:cNvSpPr>
            <a:spLocks/>
          </p:cNvSpPr>
          <p:nvPr/>
        </p:nvSpPr>
        <p:spPr>
          <a:xfrm>
            <a:off x="3904636" y="4919360"/>
            <a:ext cx="1792986" cy="738664"/>
          </a:xfrm>
          <a:prstGeom prst="rect">
            <a:avLst/>
          </a:prstGeom>
        </p:spPr>
        <p:txBody>
          <a:bodyPr wrap="square" lIns="0" tIns="0" rIns="0" bIns="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282828"/>
                </a:solidFill>
                <a:effectLst/>
                <a:uLnTx/>
                <a:uFillTx/>
                <a:latin typeface="Segoe UI"/>
                <a:ea typeface="+mn-ea"/>
                <a:cs typeface="+mn-cs"/>
              </a:rPr>
              <a:t>Deliver learning programs and assignments and management of learner records</a:t>
            </a:r>
            <a:endParaRPr kumimoji="0" lang="en-US" sz="1200" b="0" i="0" u="none" strike="noStrike" kern="1200" cap="none" spc="0" normalizeH="0" baseline="0" noProof="0">
              <a:ln>
                <a:noFill/>
              </a:ln>
              <a:solidFill>
                <a:srgbClr val="282828"/>
              </a:solidFill>
              <a:effectLst/>
              <a:uLnTx/>
              <a:uFillTx/>
              <a:latin typeface="Segoe UI"/>
              <a:ea typeface="Segoe UI" pitchFamily="34" charset="0"/>
              <a:cs typeface="Segoe UI" pitchFamily="34" charset="0"/>
            </a:endParaRPr>
          </a:p>
        </p:txBody>
      </p:sp>
      <p:grpSp>
        <p:nvGrpSpPr>
          <p:cNvPr id="93" name="Group 92">
            <a:extLst>
              <a:ext uri="{FF2B5EF4-FFF2-40B4-BE49-F238E27FC236}">
                <a16:creationId xmlns:a16="http://schemas.microsoft.com/office/drawing/2014/main" id="{ECC5B63F-3EBD-45BB-AA62-B0930469639B}"/>
              </a:ext>
            </a:extLst>
          </p:cNvPr>
          <p:cNvGrpSpPr/>
          <p:nvPr/>
        </p:nvGrpSpPr>
        <p:grpSpPr>
          <a:xfrm>
            <a:off x="2512328" y="3362098"/>
            <a:ext cx="859634" cy="858028"/>
            <a:chOff x="2940922" y="2891761"/>
            <a:chExt cx="552450" cy="551418"/>
          </a:xfrm>
        </p:grpSpPr>
        <p:sp>
          <p:nvSpPr>
            <p:cNvPr id="42" name="Oval 41">
              <a:extLst>
                <a:ext uri="{FF2B5EF4-FFF2-40B4-BE49-F238E27FC236}">
                  <a16:creationId xmlns:a16="http://schemas.microsoft.com/office/drawing/2014/main" id="{EF972331-A213-45B1-A116-7108FD6ECF5F}"/>
                </a:ext>
              </a:extLst>
            </p:cNvPr>
            <p:cNvSpPr/>
            <p:nvPr/>
          </p:nvSpPr>
          <p:spPr bwMode="auto">
            <a:xfrm>
              <a:off x="2940922" y="2891761"/>
              <a:ext cx="552450" cy="551418"/>
            </a:xfrm>
            <a:prstGeom prst="ellipse">
              <a:avLst/>
            </a:prstGeom>
            <a:solidFill>
              <a:schemeClr val="bg1"/>
            </a:solidFill>
            <a:ln w="63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grpSp>
          <p:nvGrpSpPr>
            <p:cNvPr id="43" name="Group 26">
              <a:extLst>
                <a:ext uri="{FF2B5EF4-FFF2-40B4-BE49-F238E27FC236}">
                  <a16:creationId xmlns:a16="http://schemas.microsoft.com/office/drawing/2014/main" id="{ED280B10-5C83-481C-B8CA-D5BA4778F85D}"/>
                </a:ext>
              </a:extLst>
            </p:cNvPr>
            <p:cNvGrpSpPr>
              <a:grpSpLocks noChangeAspect="1"/>
            </p:cNvGrpSpPr>
            <p:nvPr/>
          </p:nvGrpSpPr>
          <p:grpSpPr bwMode="auto">
            <a:xfrm>
              <a:off x="3051810" y="3050018"/>
              <a:ext cx="330674" cy="234904"/>
              <a:chOff x="3733" y="2074"/>
              <a:chExt cx="366" cy="260"/>
            </a:xfrm>
          </p:grpSpPr>
          <p:sp>
            <p:nvSpPr>
              <p:cNvPr id="44" name="Freeform 27">
                <a:extLst>
                  <a:ext uri="{FF2B5EF4-FFF2-40B4-BE49-F238E27FC236}">
                    <a16:creationId xmlns:a16="http://schemas.microsoft.com/office/drawing/2014/main" id="{0CDA2D0F-1194-4568-9219-445DE3CB67CC}"/>
                  </a:ext>
                </a:extLst>
              </p:cNvPr>
              <p:cNvSpPr>
                <a:spLocks/>
              </p:cNvSpPr>
              <p:nvPr/>
            </p:nvSpPr>
            <p:spPr bwMode="auto">
              <a:xfrm>
                <a:off x="3733" y="2180"/>
                <a:ext cx="257" cy="154"/>
              </a:xfrm>
              <a:custGeom>
                <a:avLst/>
                <a:gdLst>
                  <a:gd name="T0" fmla="*/ 0 w 187"/>
                  <a:gd name="T1" fmla="*/ 112 h 112"/>
                  <a:gd name="T2" fmla="*/ 0 w 187"/>
                  <a:gd name="T3" fmla="*/ 108 h 112"/>
                  <a:gd name="T4" fmla="*/ 0 w 187"/>
                  <a:gd name="T5" fmla="*/ 26 h 112"/>
                  <a:gd name="T6" fmla="*/ 26 w 187"/>
                  <a:gd name="T7" fmla="*/ 0 h 112"/>
                  <a:gd name="T8" fmla="*/ 77 w 187"/>
                  <a:gd name="T9" fmla="*/ 0 h 112"/>
                  <a:gd name="T10" fmla="*/ 89 w 187"/>
                  <a:gd name="T11" fmla="*/ 4 h 112"/>
                  <a:gd name="T12" fmla="*/ 118 w 187"/>
                  <a:gd name="T13" fmla="*/ 33 h 112"/>
                  <a:gd name="T14" fmla="*/ 130 w 187"/>
                  <a:gd name="T15" fmla="*/ 46 h 112"/>
                  <a:gd name="T16" fmla="*/ 139 w 187"/>
                  <a:gd name="T17" fmla="*/ 36 h 112"/>
                  <a:gd name="T18" fmla="*/ 166 w 187"/>
                  <a:gd name="T19" fmla="*/ 9 h 112"/>
                  <a:gd name="T20" fmla="*/ 179 w 187"/>
                  <a:gd name="T21" fmla="*/ 6 h 112"/>
                  <a:gd name="T22" fmla="*/ 187 w 187"/>
                  <a:gd name="T23" fmla="*/ 16 h 112"/>
                  <a:gd name="T24" fmla="*/ 182 w 187"/>
                  <a:gd name="T25" fmla="*/ 28 h 112"/>
                  <a:gd name="T26" fmla="*/ 147 w 187"/>
                  <a:gd name="T27" fmla="*/ 64 h 112"/>
                  <a:gd name="T28" fmla="*/ 139 w 187"/>
                  <a:gd name="T29" fmla="*/ 72 h 112"/>
                  <a:gd name="T30" fmla="*/ 120 w 187"/>
                  <a:gd name="T31" fmla="*/ 73 h 112"/>
                  <a:gd name="T32" fmla="*/ 93 w 187"/>
                  <a:gd name="T33" fmla="*/ 47 h 112"/>
                  <a:gd name="T34" fmla="*/ 90 w 187"/>
                  <a:gd name="T35" fmla="*/ 45 h 112"/>
                  <a:gd name="T36" fmla="*/ 90 w 187"/>
                  <a:gd name="T37" fmla="*/ 45 h 112"/>
                  <a:gd name="T38" fmla="*/ 90 w 187"/>
                  <a:gd name="T39"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7" h="112">
                    <a:moveTo>
                      <a:pt x="0" y="112"/>
                    </a:moveTo>
                    <a:cubicBezTo>
                      <a:pt x="0" y="111"/>
                      <a:pt x="0" y="109"/>
                      <a:pt x="0" y="108"/>
                    </a:cubicBezTo>
                    <a:cubicBezTo>
                      <a:pt x="0" y="81"/>
                      <a:pt x="0" y="54"/>
                      <a:pt x="0" y="26"/>
                    </a:cubicBezTo>
                    <a:cubicBezTo>
                      <a:pt x="0" y="11"/>
                      <a:pt x="10" y="0"/>
                      <a:pt x="26" y="0"/>
                    </a:cubicBezTo>
                    <a:cubicBezTo>
                      <a:pt x="43" y="0"/>
                      <a:pt x="60" y="0"/>
                      <a:pt x="77" y="0"/>
                    </a:cubicBezTo>
                    <a:cubicBezTo>
                      <a:pt x="82" y="0"/>
                      <a:pt x="86" y="1"/>
                      <a:pt x="89" y="4"/>
                    </a:cubicBezTo>
                    <a:cubicBezTo>
                      <a:pt x="99" y="13"/>
                      <a:pt x="109" y="23"/>
                      <a:pt x="118" y="33"/>
                    </a:cubicBezTo>
                    <a:cubicBezTo>
                      <a:pt x="122" y="37"/>
                      <a:pt x="126" y="41"/>
                      <a:pt x="130" y="46"/>
                    </a:cubicBezTo>
                    <a:cubicBezTo>
                      <a:pt x="133" y="43"/>
                      <a:pt x="136" y="39"/>
                      <a:pt x="139" y="36"/>
                    </a:cubicBezTo>
                    <a:cubicBezTo>
                      <a:pt x="148" y="27"/>
                      <a:pt x="157" y="18"/>
                      <a:pt x="166" y="9"/>
                    </a:cubicBezTo>
                    <a:cubicBezTo>
                      <a:pt x="170" y="5"/>
                      <a:pt x="174" y="4"/>
                      <a:pt x="179" y="6"/>
                    </a:cubicBezTo>
                    <a:cubicBezTo>
                      <a:pt x="184" y="8"/>
                      <a:pt x="186" y="11"/>
                      <a:pt x="187" y="16"/>
                    </a:cubicBezTo>
                    <a:cubicBezTo>
                      <a:pt x="187" y="21"/>
                      <a:pt x="185" y="25"/>
                      <a:pt x="182" y="28"/>
                    </a:cubicBezTo>
                    <a:cubicBezTo>
                      <a:pt x="170" y="40"/>
                      <a:pt x="158" y="52"/>
                      <a:pt x="147" y="64"/>
                    </a:cubicBezTo>
                    <a:cubicBezTo>
                      <a:pt x="144" y="67"/>
                      <a:pt x="141" y="70"/>
                      <a:pt x="139" y="72"/>
                    </a:cubicBezTo>
                    <a:cubicBezTo>
                      <a:pt x="133" y="77"/>
                      <a:pt x="125" y="78"/>
                      <a:pt x="120" y="73"/>
                    </a:cubicBezTo>
                    <a:cubicBezTo>
                      <a:pt x="111" y="64"/>
                      <a:pt x="102" y="55"/>
                      <a:pt x="93" y="47"/>
                    </a:cubicBezTo>
                    <a:cubicBezTo>
                      <a:pt x="92" y="46"/>
                      <a:pt x="92" y="46"/>
                      <a:pt x="90" y="45"/>
                    </a:cubicBezTo>
                    <a:cubicBezTo>
                      <a:pt x="90" y="45"/>
                      <a:pt x="90" y="45"/>
                      <a:pt x="90" y="45"/>
                    </a:cubicBezTo>
                    <a:cubicBezTo>
                      <a:pt x="90" y="67"/>
                      <a:pt x="90" y="90"/>
                      <a:pt x="90" y="112"/>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82828"/>
                  </a:solidFill>
                  <a:effectLst/>
                  <a:uLnTx/>
                  <a:uFillTx/>
                  <a:latin typeface="Segoe UI"/>
                  <a:ea typeface="+mn-ea"/>
                  <a:cs typeface="+mn-cs"/>
                </a:endParaRPr>
              </a:p>
            </p:txBody>
          </p:sp>
          <p:sp>
            <p:nvSpPr>
              <p:cNvPr id="45" name="Freeform 28">
                <a:extLst>
                  <a:ext uri="{FF2B5EF4-FFF2-40B4-BE49-F238E27FC236}">
                    <a16:creationId xmlns:a16="http://schemas.microsoft.com/office/drawing/2014/main" id="{21D9A07F-FDAC-4907-81A1-06E4C78CB94D}"/>
                  </a:ext>
                </a:extLst>
              </p:cNvPr>
              <p:cNvSpPr>
                <a:spLocks/>
              </p:cNvSpPr>
              <p:nvPr/>
            </p:nvSpPr>
            <p:spPr bwMode="auto">
              <a:xfrm>
                <a:off x="3895" y="2074"/>
                <a:ext cx="204" cy="260"/>
              </a:xfrm>
              <a:custGeom>
                <a:avLst/>
                <a:gdLst>
                  <a:gd name="T0" fmla="*/ 0 w 149"/>
                  <a:gd name="T1" fmla="*/ 108 h 189"/>
                  <a:gd name="T2" fmla="*/ 0 w 149"/>
                  <a:gd name="T3" fmla="*/ 2 h 189"/>
                  <a:gd name="T4" fmla="*/ 1 w 149"/>
                  <a:gd name="T5" fmla="*/ 0 h 189"/>
                  <a:gd name="T6" fmla="*/ 149 w 149"/>
                  <a:gd name="T7" fmla="*/ 0 h 189"/>
                  <a:gd name="T8" fmla="*/ 149 w 149"/>
                  <a:gd name="T9" fmla="*/ 189 h 189"/>
                  <a:gd name="T10" fmla="*/ 0 w 149"/>
                  <a:gd name="T11" fmla="*/ 189 h 189"/>
                  <a:gd name="T12" fmla="*/ 0 w 149"/>
                  <a:gd name="T13" fmla="*/ 148 h 189"/>
                </a:gdLst>
                <a:ahLst/>
                <a:cxnLst>
                  <a:cxn ang="0">
                    <a:pos x="T0" y="T1"/>
                  </a:cxn>
                  <a:cxn ang="0">
                    <a:pos x="T2" y="T3"/>
                  </a:cxn>
                  <a:cxn ang="0">
                    <a:pos x="T4" y="T5"/>
                  </a:cxn>
                  <a:cxn ang="0">
                    <a:pos x="T6" y="T7"/>
                  </a:cxn>
                  <a:cxn ang="0">
                    <a:pos x="T8" y="T9"/>
                  </a:cxn>
                  <a:cxn ang="0">
                    <a:pos x="T10" y="T11"/>
                  </a:cxn>
                  <a:cxn ang="0">
                    <a:pos x="T12" y="T13"/>
                  </a:cxn>
                </a:cxnLst>
                <a:rect l="0" t="0" r="r" b="b"/>
                <a:pathLst>
                  <a:path w="149" h="189">
                    <a:moveTo>
                      <a:pt x="0" y="108"/>
                    </a:moveTo>
                    <a:cubicBezTo>
                      <a:pt x="0" y="79"/>
                      <a:pt x="0" y="31"/>
                      <a:pt x="0" y="2"/>
                    </a:cubicBezTo>
                    <a:cubicBezTo>
                      <a:pt x="0" y="1"/>
                      <a:pt x="0" y="1"/>
                      <a:pt x="1" y="0"/>
                    </a:cubicBezTo>
                    <a:cubicBezTo>
                      <a:pt x="50" y="0"/>
                      <a:pt x="99" y="0"/>
                      <a:pt x="149" y="0"/>
                    </a:cubicBezTo>
                    <a:cubicBezTo>
                      <a:pt x="149" y="63"/>
                      <a:pt x="149" y="126"/>
                      <a:pt x="149" y="189"/>
                    </a:cubicBezTo>
                    <a:cubicBezTo>
                      <a:pt x="100" y="189"/>
                      <a:pt x="50" y="189"/>
                      <a:pt x="0" y="189"/>
                    </a:cubicBezTo>
                    <a:cubicBezTo>
                      <a:pt x="0" y="183"/>
                      <a:pt x="0" y="155"/>
                      <a:pt x="0" y="148"/>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82828"/>
                  </a:solidFill>
                  <a:effectLst/>
                  <a:uLnTx/>
                  <a:uFillTx/>
                  <a:latin typeface="Segoe UI"/>
                  <a:ea typeface="+mn-ea"/>
                  <a:cs typeface="+mn-cs"/>
                </a:endParaRPr>
              </a:p>
            </p:txBody>
          </p:sp>
          <p:sp>
            <p:nvSpPr>
              <p:cNvPr id="46" name="Freeform 29">
                <a:extLst>
                  <a:ext uri="{FF2B5EF4-FFF2-40B4-BE49-F238E27FC236}">
                    <a16:creationId xmlns:a16="http://schemas.microsoft.com/office/drawing/2014/main" id="{EF2B1717-6E8F-4D48-B396-0FB1276DC7D9}"/>
                  </a:ext>
                </a:extLst>
              </p:cNvPr>
              <p:cNvSpPr>
                <a:spLocks/>
              </p:cNvSpPr>
              <p:nvPr/>
            </p:nvSpPr>
            <p:spPr bwMode="auto">
              <a:xfrm>
                <a:off x="3754" y="2074"/>
                <a:ext cx="95" cy="95"/>
              </a:xfrm>
              <a:custGeom>
                <a:avLst/>
                <a:gdLst>
                  <a:gd name="T0" fmla="*/ 35 w 69"/>
                  <a:gd name="T1" fmla="*/ 0 h 69"/>
                  <a:gd name="T2" fmla="*/ 69 w 69"/>
                  <a:gd name="T3" fmla="*/ 35 h 69"/>
                  <a:gd name="T4" fmla="*/ 34 w 69"/>
                  <a:gd name="T5" fmla="*/ 69 h 69"/>
                  <a:gd name="T6" fmla="*/ 0 w 69"/>
                  <a:gd name="T7" fmla="*/ 34 h 69"/>
                  <a:gd name="T8" fmla="*/ 35 w 69"/>
                  <a:gd name="T9" fmla="*/ 0 h 69"/>
                </a:gdLst>
                <a:ahLst/>
                <a:cxnLst>
                  <a:cxn ang="0">
                    <a:pos x="T0" y="T1"/>
                  </a:cxn>
                  <a:cxn ang="0">
                    <a:pos x="T2" y="T3"/>
                  </a:cxn>
                  <a:cxn ang="0">
                    <a:pos x="T4" y="T5"/>
                  </a:cxn>
                  <a:cxn ang="0">
                    <a:pos x="T6" y="T7"/>
                  </a:cxn>
                  <a:cxn ang="0">
                    <a:pos x="T8" y="T9"/>
                  </a:cxn>
                </a:cxnLst>
                <a:rect l="0" t="0" r="r" b="b"/>
                <a:pathLst>
                  <a:path w="69" h="69">
                    <a:moveTo>
                      <a:pt x="35" y="0"/>
                    </a:moveTo>
                    <a:cubicBezTo>
                      <a:pt x="54" y="0"/>
                      <a:pt x="69" y="15"/>
                      <a:pt x="69" y="35"/>
                    </a:cubicBezTo>
                    <a:cubicBezTo>
                      <a:pt x="69" y="54"/>
                      <a:pt x="53" y="69"/>
                      <a:pt x="34" y="69"/>
                    </a:cubicBezTo>
                    <a:cubicBezTo>
                      <a:pt x="15" y="69"/>
                      <a:pt x="0" y="54"/>
                      <a:pt x="0" y="34"/>
                    </a:cubicBezTo>
                    <a:cubicBezTo>
                      <a:pt x="0" y="15"/>
                      <a:pt x="16" y="0"/>
                      <a:pt x="35" y="0"/>
                    </a:cubicBezTo>
                    <a:close/>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82828"/>
                  </a:solidFill>
                  <a:effectLst/>
                  <a:uLnTx/>
                  <a:uFillTx/>
                  <a:latin typeface="Segoe UI"/>
                  <a:ea typeface="+mn-ea"/>
                  <a:cs typeface="+mn-cs"/>
                </a:endParaRPr>
              </a:p>
            </p:txBody>
          </p:sp>
        </p:grpSp>
      </p:grpSp>
      <p:sp>
        <p:nvSpPr>
          <p:cNvPr id="6" name="Rectangle 5">
            <a:extLst>
              <a:ext uri="{FF2B5EF4-FFF2-40B4-BE49-F238E27FC236}">
                <a16:creationId xmlns:a16="http://schemas.microsoft.com/office/drawing/2014/main" id="{9FE2D126-9E33-49D0-A48F-CD9F6D12E6CF}"/>
              </a:ext>
            </a:extLst>
          </p:cNvPr>
          <p:cNvSpPr>
            <a:spLocks/>
          </p:cNvSpPr>
          <p:nvPr/>
        </p:nvSpPr>
        <p:spPr>
          <a:xfrm>
            <a:off x="2042442" y="4372804"/>
            <a:ext cx="1792986" cy="430887"/>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82828"/>
                </a:solidFill>
                <a:effectLst/>
                <a:uLnTx/>
                <a:uFillTx/>
                <a:latin typeface="Segoe UI Semibold"/>
                <a:ea typeface="+mn-ea"/>
                <a:cs typeface="Segoe UI" pitchFamily="34" charset="0"/>
              </a:rPr>
              <a:t>Learning</a:t>
            </a:r>
            <a:br>
              <a:rPr kumimoji="0" lang="en-US" sz="1400" b="0" i="0" u="none" strike="noStrike" kern="1200" cap="none" spc="0" normalizeH="0" baseline="0" noProof="0">
                <a:ln>
                  <a:noFill/>
                </a:ln>
                <a:solidFill>
                  <a:srgbClr val="282828"/>
                </a:solidFill>
                <a:effectLst/>
                <a:uLnTx/>
                <a:uFillTx/>
                <a:latin typeface="Segoe UI Semibold"/>
                <a:ea typeface="+mn-ea"/>
                <a:cs typeface="Segoe UI" pitchFamily="34" charset="0"/>
              </a:rPr>
            </a:br>
            <a:r>
              <a:rPr kumimoji="0" lang="en-US" sz="1400" b="0" i="0" u="none" strike="noStrike" kern="1200" cap="none" spc="0" normalizeH="0" baseline="0" noProof="0">
                <a:ln>
                  <a:noFill/>
                </a:ln>
                <a:solidFill>
                  <a:srgbClr val="282828"/>
                </a:solidFill>
                <a:effectLst/>
                <a:uLnTx/>
                <a:uFillTx/>
                <a:latin typeface="Segoe UI Semibold"/>
                <a:ea typeface="+mn-ea"/>
                <a:cs typeface="Segoe UI" pitchFamily="34" charset="0"/>
              </a:rPr>
              <a:t>Experience Platforms</a:t>
            </a:r>
            <a:endParaRPr kumimoji="0" lang="en-US" sz="1400" b="0" i="0" u="none" strike="noStrike" kern="1200" cap="none" spc="0" normalizeH="0" baseline="0" noProof="0">
              <a:ln>
                <a:noFill/>
              </a:ln>
              <a:solidFill>
                <a:srgbClr val="282828"/>
              </a:solidFill>
              <a:effectLst/>
              <a:uLnTx/>
              <a:uFillTx/>
              <a:latin typeface="Segoe UI Semibold"/>
              <a:ea typeface="+mn-ea"/>
              <a:cs typeface="+mn-cs"/>
            </a:endParaRPr>
          </a:p>
        </p:txBody>
      </p:sp>
      <p:sp>
        <p:nvSpPr>
          <p:cNvPr id="12" name="Rectangle 11">
            <a:extLst>
              <a:ext uri="{FF2B5EF4-FFF2-40B4-BE49-F238E27FC236}">
                <a16:creationId xmlns:a16="http://schemas.microsoft.com/office/drawing/2014/main" id="{022A2838-8294-4DD1-8E63-F4E4F42639F3}"/>
              </a:ext>
            </a:extLst>
          </p:cNvPr>
          <p:cNvSpPr>
            <a:spLocks/>
          </p:cNvSpPr>
          <p:nvPr/>
        </p:nvSpPr>
        <p:spPr>
          <a:xfrm>
            <a:off x="2042443" y="4919360"/>
            <a:ext cx="1792986" cy="738664"/>
          </a:xfrm>
          <a:prstGeom prst="rect">
            <a:avLst/>
          </a:prstGeom>
        </p:spPr>
        <p:txBody>
          <a:bodyPr wrap="square" lIns="0" tIns="0" rIns="0" bIns="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282828"/>
                </a:solidFill>
                <a:effectLst/>
                <a:uLnTx/>
                <a:uFillTx/>
                <a:latin typeface="Segoe UI"/>
                <a:ea typeface="+mn-ea"/>
                <a:cs typeface="+mn-cs"/>
              </a:rPr>
              <a:t>Front-end platform for learning content discovery, engagement, and personalization </a:t>
            </a:r>
            <a:endParaRPr kumimoji="0" lang="en-US" sz="1200" b="0" i="0" u="none" strike="noStrike" kern="1200" cap="none" spc="0" normalizeH="0" baseline="0" noProof="0">
              <a:ln>
                <a:noFill/>
              </a:ln>
              <a:solidFill>
                <a:srgbClr val="282828"/>
              </a:solidFill>
              <a:effectLst/>
              <a:uLnTx/>
              <a:uFillTx/>
              <a:latin typeface="Segoe UI"/>
              <a:ea typeface="Segoe UI" pitchFamily="34" charset="0"/>
              <a:cs typeface="Segoe UI" pitchFamily="34" charset="0"/>
            </a:endParaRPr>
          </a:p>
        </p:txBody>
      </p:sp>
      <p:grpSp>
        <p:nvGrpSpPr>
          <p:cNvPr id="92" name="Group 91">
            <a:extLst>
              <a:ext uri="{FF2B5EF4-FFF2-40B4-BE49-F238E27FC236}">
                <a16:creationId xmlns:a16="http://schemas.microsoft.com/office/drawing/2014/main" id="{EE4BC1C1-5142-4D2A-977D-AE05397F4FCC}"/>
              </a:ext>
            </a:extLst>
          </p:cNvPr>
          <p:cNvGrpSpPr/>
          <p:nvPr/>
        </p:nvGrpSpPr>
        <p:grpSpPr>
          <a:xfrm>
            <a:off x="662074" y="3348928"/>
            <a:ext cx="859634" cy="858028"/>
            <a:chOff x="1048249" y="2891761"/>
            <a:chExt cx="552450" cy="551418"/>
          </a:xfrm>
        </p:grpSpPr>
        <p:sp>
          <p:nvSpPr>
            <p:cNvPr id="27" name="Oval 26">
              <a:extLst>
                <a:ext uri="{FF2B5EF4-FFF2-40B4-BE49-F238E27FC236}">
                  <a16:creationId xmlns:a16="http://schemas.microsoft.com/office/drawing/2014/main" id="{AFE21926-87C4-4D99-9867-C25D534EE582}"/>
                </a:ext>
              </a:extLst>
            </p:cNvPr>
            <p:cNvSpPr/>
            <p:nvPr/>
          </p:nvSpPr>
          <p:spPr bwMode="auto">
            <a:xfrm>
              <a:off x="1048249" y="2891761"/>
              <a:ext cx="552450" cy="551418"/>
            </a:xfrm>
            <a:prstGeom prst="ellipse">
              <a:avLst/>
            </a:prstGeom>
            <a:solidFill>
              <a:schemeClr val="bg1"/>
            </a:solidFill>
            <a:ln w="63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grpSp>
          <p:nvGrpSpPr>
            <p:cNvPr id="29" name="Graphic 160">
              <a:extLst>
                <a:ext uri="{FF2B5EF4-FFF2-40B4-BE49-F238E27FC236}">
                  <a16:creationId xmlns:a16="http://schemas.microsoft.com/office/drawing/2014/main" id="{A2258BE8-54D7-4DE8-9859-FFA942C9E07C}"/>
                </a:ext>
              </a:extLst>
            </p:cNvPr>
            <p:cNvGrpSpPr/>
            <p:nvPr/>
          </p:nvGrpSpPr>
          <p:grpSpPr>
            <a:xfrm>
              <a:off x="1197220" y="2985920"/>
              <a:ext cx="254509" cy="363101"/>
              <a:chOff x="7053892" y="4608173"/>
              <a:chExt cx="402717" cy="574548"/>
            </a:xfrm>
            <a:noFill/>
          </p:grpSpPr>
          <p:sp>
            <p:nvSpPr>
              <p:cNvPr id="30" name="Freeform: Shape 29">
                <a:extLst>
                  <a:ext uri="{FF2B5EF4-FFF2-40B4-BE49-F238E27FC236}">
                    <a16:creationId xmlns:a16="http://schemas.microsoft.com/office/drawing/2014/main" id="{C1262F8F-E154-4400-9F1E-F04B94988527}"/>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31" name="Freeform: Shape 30">
                <a:extLst>
                  <a:ext uri="{FF2B5EF4-FFF2-40B4-BE49-F238E27FC236}">
                    <a16:creationId xmlns:a16="http://schemas.microsoft.com/office/drawing/2014/main" id="{1A954A1F-E292-4A72-A40A-C35A4D8BA5B5}"/>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32" name="Freeform: Shape 31">
                <a:extLst>
                  <a:ext uri="{FF2B5EF4-FFF2-40B4-BE49-F238E27FC236}">
                    <a16:creationId xmlns:a16="http://schemas.microsoft.com/office/drawing/2014/main" id="{78B6D92F-A545-4094-A409-763987FFB50C}"/>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33" name="Freeform: Shape 32">
                <a:extLst>
                  <a:ext uri="{FF2B5EF4-FFF2-40B4-BE49-F238E27FC236}">
                    <a16:creationId xmlns:a16="http://schemas.microsoft.com/office/drawing/2014/main" id="{C661AC12-1E6F-49B5-B9A7-09DC504ED849}"/>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34" name="Freeform: Shape 33">
                <a:extLst>
                  <a:ext uri="{FF2B5EF4-FFF2-40B4-BE49-F238E27FC236}">
                    <a16:creationId xmlns:a16="http://schemas.microsoft.com/office/drawing/2014/main" id="{F3C600A7-AAA6-4F02-9644-60766844EFC0}"/>
                  </a:ext>
                </a:extLst>
              </p:cNvPr>
              <p:cNvSpPr/>
              <p:nvPr/>
            </p:nvSpPr>
            <p:spPr>
              <a:xfrm>
                <a:off x="7156858" y="4890018"/>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35" name="Freeform: Shape 34">
                <a:extLst>
                  <a:ext uri="{FF2B5EF4-FFF2-40B4-BE49-F238E27FC236}">
                    <a16:creationId xmlns:a16="http://schemas.microsoft.com/office/drawing/2014/main" id="{3158A8ED-B661-439B-9A8C-08410472E1E2}"/>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BDDBA115-9DEF-48B5-852A-36BFD7BD7235}"/>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226A0117-BA39-44BE-81D9-E24B166F8224}"/>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grpSp>
            <p:nvGrpSpPr>
              <p:cNvPr id="38" name="Graphic 160">
                <a:extLst>
                  <a:ext uri="{FF2B5EF4-FFF2-40B4-BE49-F238E27FC236}">
                    <a16:creationId xmlns:a16="http://schemas.microsoft.com/office/drawing/2014/main" id="{30F1116D-1B43-448C-B81D-80A2C980CA58}"/>
                  </a:ext>
                </a:extLst>
              </p:cNvPr>
              <p:cNvGrpSpPr/>
              <p:nvPr/>
            </p:nvGrpSpPr>
            <p:grpSpPr>
              <a:xfrm>
                <a:off x="7258846" y="4914593"/>
                <a:ext cx="197762" cy="268128"/>
                <a:chOff x="7258846" y="4914593"/>
                <a:chExt cx="197762" cy="268128"/>
              </a:xfrm>
              <a:noFill/>
            </p:grpSpPr>
            <p:sp>
              <p:nvSpPr>
                <p:cNvPr id="39" name="Freeform: Shape 38">
                  <a:extLst>
                    <a:ext uri="{FF2B5EF4-FFF2-40B4-BE49-F238E27FC236}">
                      <a16:creationId xmlns:a16="http://schemas.microsoft.com/office/drawing/2014/main" id="{6E775F8D-51C8-4178-BFDB-87DEECF1B725}"/>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0" name="Freeform: Shape 39">
                  <a:extLst>
                    <a:ext uri="{FF2B5EF4-FFF2-40B4-BE49-F238E27FC236}">
                      <a16:creationId xmlns:a16="http://schemas.microsoft.com/office/drawing/2014/main" id="{A3BD88E2-8BFE-4434-B694-7988108609A5}"/>
                    </a:ext>
                  </a:extLst>
                </p:cNvPr>
                <p:cNvSpPr/>
                <p:nvPr/>
              </p:nvSpPr>
              <p:spPr>
                <a:xfrm>
                  <a:off x="7258846" y="4914593"/>
                  <a:ext cx="197762" cy="268128"/>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grpSp>
        </p:grpSp>
      </p:grpSp>
      <p:sp>
        <p:nvSpPr>
          <p:cNvPr id="8" name="Rectangle 7">
            <a:extLst>
              <a:ext uri="{FF2B5EF4-FFF2-40B4-BE49-F238E27FC236}">
                <a16:creationId xmlns:a16="http://schemas.microsoft.com/office/drawing/2014/main" id="{B7B29613-5714-4F9A-BC31-2E4E2B4A8B1F}"/>
              </a:ext>
            </a:extLst>
          </p:cNvPr>
          <p:cNvSpPr>
            <a:spLocks/>
          </p:cNvSpPr>
          <p:nvPr/>
        </p:nvSpPr>
        <p:spPr>
          <a:xfrm>
            <a:off x="180249" y="4372804"/>
            <a:ext cx="1792986" cy="430887"/>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82828"/>
                </a:solidFill>
                <a:effectLst/>
                <a:uLnTx/>
                <a:uFillTx/>
                <a:latin typeface="Segoe UI Semibold"/>
                <a:ea typeface="Segoe UI" pitchFamily="34" charset="0"/>
                <a:cs typeface="Segoe UI" pitchFamily="34" charset="0"/>
              </a:rPr>
              <a:t>Learning</a:t>
            </a:r>
            <a:br>
              <a:rPr kumimoji="0" lang="en-US" sz="1400" b="0" i="0" u="none" strike="noStrike" kern="1200" cap="none" spc="0" normalizeH="0" baseline="0" noProof="0">
                <a:ln>
                  <a:noFill/>
                </a:ln>
                <a:solidFill>
                  <a:srgbClr val="282828"/>
                </a:solidFill>
                <a:effectLst/>
                <a:uLnTx/>
                <a:uFillTx/>
                <a:latin typeface="Segoe UI Semibold"/>
                <a:ea typeface="Segoe UI" pitchFamily="34" charset="0"/>
                <a:cs typeface="Segoe UI" pitchFamily="34" charset="0"/>
              </a:rPr>
            </a:br>
            <a:r>
              <a:rPr kumimoji="0" lang="en-US" sz="1400" b="0" i="0" u="none" strike="noStrike" kern="1200" cap="none" spc="0" normalizeH="0" baseline="0" noProof="0">
                <a:ln>
                  <a:noFill/>
                </a:ln>
                <a:solidFill>
                  <a:srgbClr val="282828"/>
                </a:solidFill>
                <a:effectLst/>
                <a:uLnTx/>
                <a:uFillTx/>
                <a:latin typeface="Segoe UI Semibold"/>
                <a:ea typeface="Segoe UI" pitchFamily="34" charset="0"/>
                <a:cs typeface="Segoe UI" pitchFamily="34" charset="0"/>
              </a:rPr>
              <a:t>Content Providers</a:t>
            </a:r>
            <a:endParaRPr kumimoji="0" lang="en-US" sz="1400" b="0" i="0" u="none" strike="noStrike" kern="1200" cap="none" spc="0" normalizeH="0" baseline="0" noProof="0">
              <a:ln>
                <a:noFill/>
              </a:ln>
              <a:solidFill>
                <a:srgbClr val="282828"/>
              </a:solidFill>
              <a:effectLst/>
              <a:uLnTx/>
              <a:uFillTx/>
              <a:latin typeface="Segoe UI Semibold"/>
              <a:ea typeface="+mn-ea"/>
              <a:cs typeface="+mn-cs"/>
            </a:endParaRPr>
          </a:p>
        </p:txBody>
      </p:sp>
      <p:sp>
        <p:nvSpPr>
          <p:cNvPr id="14" name="Rectangle 13">
            <a:extLst>
              <a:ext uri="{FF2B5EF4-FFF2-40B4-BE49-F238E27FC236}">
                <a16:creationId xmlns:a16="http://schemas.microsoft.com/office/drawing/2014/main" id="{103DED99-3B04-4AE7-8374-F926F7A7D06D}"/>
              </a:ext>
            </a:extLst>
          </p:cNvPr>
          <p:cNvSpPr>
            <a:spLocks/>
          </p:cNvSpPr>
          <p:nvPr/>
        </p:nvSpPr>
        <p:spPr>
          <a:xfrm>
            <a:off x="180249" y="4919360"/>
            <a:ext cx="1792986" cy="553998"/>
          </a:xfrm>
          <a:prstGeom prst="rect">
            <a:avLst/>
          </a:prstGeom>
        </p:spPr>
        <p:txBody>
          <a:bodyPr wrap="square" lIns="0" tIns="0" rIns="0" bIns="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282828"/>
                </a:solidFill>
                <a:effectLst/>
                <a:uLnTx/>
                <a:uFillTx/>
                <a:latin typeface="Segoe UI"/>
                <a:ea typeface="+mn-ea"/>
                <a:cs typeface="+mn-cs"/>
              </a:rPr>
              <a:t>Provide the actual</a:t>
            </a:r>
            <a:br>
              <a:rPr kumimoji="0" lang="en-US" sz="1200" b="0" i="0" u="none" strike="noStrike" kern="1200" cap="none" spc="0" normalizeH="0" baseline="0" noProof="0">
                <a:ln>
                  <a:noFill/>
                </a:ln>
                <a:solidFill>
                  <a:srgbClr val="282828"/>
                </a:solidFill>
                <a:effectLst/>
                <a:uLnTx/>
                <a:uFillTx/>
                <a:latin typeface="Segoe UI"/>
                <a:ea typeface="+mn-ea"/>
                <a:cs typeface="+mn-cs"/>
              </a:rPr>
            </a:br>
            <a:r>
              <a:rPr kumimoji="0" lang="en-US" sz="1200" b="0" i="0" u="none" strike="noStrike" kern="1200" cap="none" spc="0" normalizeH="0" baseline="0" noProof="0">
                <a:ln>
                  <a:noFill/>
                </a:ln>
                <a:solidFill>
                  <a:srgbClr val="282828"/>
                </a:solidFill>
                <a:effectLst/>
                <a:uLnTx/>
                <a:uFillTx/>
                <a:latin typeface="Segoe UI"/>
                <a:ea typeface="+mn-ea"/>
                <a:cs typeface="+mn-cs"/>
              </a:rPr>
              <a:t>learning content and courses</a:t>
            </a:r>
            <a:endParaRPr kumimoji="0" lang="en-US" sz="1200" b="0" i="0" u="none" strike="noStrike" kern="1200" cap="none" spc="0" normalizeH="0" baseline="0" noProof="0">
              <a:ln>
                <a:noFill/>
              </a:ln>
              <a:solidFill>
                <a:srgbClr val="282828"/>
              </a:solidFill>
              <a:effectLst/>
              <a:uLnTx/>
              <a:uFillTx/>
              <a:latin typeface="Segoe UI"/>
              <a:ea typeface="Segoe UI" pitchFamily="34" charset="0"/>
              <a:cs typeface="Segoe UI" pitchFamily="34" charset="0"/>
            </a:endParaRPr>
          </a:p>
        </p:txBody>
      </p:sp>
      <p:cxnSp>
        <p:nvCxnSpPr>
          <p:cNvPr id="105" name="Straight Connector 104">
            <a:extLst>
              <a:ext uri="{FF2B5EF4-FFF2-40B4-BE49-F238E27FC236}">
                <a16:creationId xmlns:a16="http://schemas.microsoft.com/office/drawing/2014/main" id="{CFD51A63-1F0F-4588-8472-8F72189DEEDA}"/>
              </a:ext>
            </a:extLst>
          </p:cNvPr>
          <p:cNvCxnSpPr>
            <a:cxnSpLocks/>
          </p:cNvCxnSpPr>
          <p:nvPr/>
        </p:nvCxnSpPr>
        <p:spPr>
          <a:xfrm>
            <a:off x="2007839" y="4927616"/>
            <a:ext cx="0" cy="722153"/>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E64BB727-9D69-462D-BAF2-D89A16A4EF57}"/>
              </a:ext>
            </a:extLst>
          </p:cNvPr>
          <p:cNvCxnSpPr>
            <a:cxnSpLocks/>
          </p:cNvCxnSpPr>
          <p:nvPr/>
        </p:nvCxnSpPr>
        <p:spPr>
          <a:xfrm>
            <a:off x="3870033" y="4927616"/>
            <a:ext cx="0" cy="722153"/>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5" name="Freeform: Shape 24">
            <a:extLst>
              <a:ext uri="{FF2B5EF4-FFF2-40B4-BE49-F238E27FC236}">
                <a16:creationId xmlns:a16="http://schemas.microsoft.com/office/drawing/2014/main" id="{8B007663-CC61-4A6F-A1FE-DDE11E299316}"/>
              </a:ext>
            </a:extLst>
          </p:cNvPr>
          <p:cNvSpPr/>
          <p:nvPr/>
        </p:nvSpPr>
        <p:spPr>
          <a:xfrm>
            <a:off x="5916725" y="2377544"/>
            <a:ext cx="358550" cy="4174069"/>
          </a:xfrm>
          <a:custGeom>
            <a:avLst/>
            <a:gdLst>
              <a:gd name="connsiteX0" fmla="*/ 256536 w 358550"/>
              <a:gd name="connsiteY0" fmla="*/ 3276274 h 4222158"/>
              <a:gd name="connsiteX1" fmla="*/ 145015 w 358550"/>
              <a:gd name="connsiteY1" fmla="*/ 3411081 h 4222158"/>
              <a:gd name="connsiteX2" fmla="*/ 248434 w 358550"/>
              <a:gd name="connsiteY2" fmla="*/ 3746281 h 4222158"/>
              <a:gd name="connsiteX3" fmla="*/ 74581 w 358550"/>
              <a:gd name="connsiteY3" fmla="*/ 4019469 h 4222158"/>
              <a:gd name="connsiteX4" fmla="*/ 191652 w 358550"/>
              <a:gd name="connsiteY4" fmla="*/ 4222158 h 4222158"/>
              <a:gd name="connsiteX5" fmla="*/ 118028 w 358550"/>
              <a:gd name="connsiteY5" fmla="*/ 4222158 h 4222158"/>
              <a:gd name="connsiteX6" fmla="*/ 0 w 358550"/>
              <a:gd name="connsiteY6" fmla="*/ 4017874 h 4222158"/>
              <a:gd name="connsiteX7" fmla="*/ 178765 w 358550"/>
              <a:gd name="connsiteY7" fmla="*/ 3736839 h 4222158"/>
              <a:gd name="connsiteX8" fmla="*/ 74007 w 358550"/>
              <a:gd name="connsiteY8" fmla="*/ 3397045 h 4222158"/>
              <a:gd name="connsiteX9" fmla="*/ 170662 w 358550"/>
              <a:gd name="connsiteY9" fmla="*/ 3279974 h 4222158"/>
              <a:gd name="connsiteX10" fmla="*/ 67818 w 358550"/>
              <a:gd name="connsiteY10" fmla="*/ 3175471 h 4222158"/>
              <a:gd name="connsiteX11" fmla="*/ 276888 w 358550"/>
              <a:gd name="connsiteY11" fmla="*/ 2887673 h 4222158"/>
              <a:gd name="connsiteX12" fmla="*/ 104056 w 358550"/>
              <a:gd name="connsiteY12" fmla="*/ 2692448 h 4222158"/>
              <a:gd name="connsiteX13" fmla="*/ 213855 w 358550"/>
              <a:gd name="connsiteY13" fmla="*/ 2549092 h 4222158"/>
              <a:gd name="connsiteX14" fmla="*/ 142272 w 358550"/>
              <a:gd name="connsiteY14" fmla="*/ 2233478 h 4222158"/>
              <a:gd name="connsiteX15" fmla="*/ 212515 w 358550"/>
              <a:gd name="connsiteY15" fmla="*/ 2141160 h 4222158"/>
              <a:gd name="connsiteX16" fmla="*/ 71519 w 358550"/>
              <a:gd name="connsiteY16" fmla="*/ 2004503 h 4222158"/>
              <a:gd name="connsiteX17" fmla="*/ 231654 w 358550"/>
              <a:gd name="connsiteY17" fmla="*/ 1631661 h 4222158"/>
              <a:gd name="connsiteX18" fmla="*/ 133595 w 358550"/>
              <a:gd name="connsiteY18" fmla="*/ 1392287 h 4222158"/>
              <a:gd name="connsiteX19" fmla="*/ 255834 w 358550"/>
              <a:gd name="connsiteY19" fmla="*/ 1228451 h 4222158"/>
              <a:gd name="connsiteX20" fmla="*/ 240395 w 358550"/>
              <a:gd name="connsiteY20" fmla="*/ 1035012 h 4222158"/>
              <a:gd name="connsiteX21" fmla="*/ 100675 w 358550"/>
              <a:gd name="connsiteY21" fmla="*/ 969108 h 4222158"/>
              <a:gd name="connsiteX22" fmla="*/ 111266 w 358550"/>
              <a:gd name="connsiteY22" fmla="*/ 480216 h 4222158"/>
              <a:gd name="connsiteX23" fmla="*/ 209070 w 358550"/>
              <a:gd name="connsiteY23" fmla="*/ 178255 h 4222158"/>
              <a:gd name="connsiteX24" fmla="*/ 121154 w 358550"/>
              <a:gd name="connsiteY24" fmla="*/ 29475 h 4222158"/>
              <a:gd name="connsiteX25" fmla="*/ 132766 w 358550"/>
              <a:gd name="connsiteY25" fmla="*/ 0 h 4222158"/>
              <a:gd name="connsiteX26" fmla="*/ 201286 w 358550"/>
              <a:gd name="connsiteY26" fmla="*/ 0 h 4222158"/>
              <a:gd name="connsiteX27" fmla="*/ 191908 w 358550"/>
              <a:gd name="connsiteY27" fmla="*/ 23797 h 4222158"/>
              <a:gd name="connsiteX28" fmla="*/ 278610 w 358550"/>
              <a:gd name="connsiteY28" fmla="*/ 170599 h 4222158"/>
              <a:gd name="connsiteX29" fmla="*/ 174873 w 358550"/>
              <a:gd name="connsiteY29" fmla="*/ 490998 h 4222158"/>
              <a:gd name="connsiteX30" fmla="*/ 165303 w 358550"/>
              <a:gd name="connsiteY30" fmla="*/ 929042 h 4222158"/>
              <a:gd name="connsiteX31" fmla="*/ 301004 w 358550"/>
              <a:gd name="connsiteY31" fmla="*/ 993032 h 4222158"/>
              <a:gd name="connsiteX32" fmla="*/ 321420 w 358550"/>
              <a:gd name="connsiteY32" fmla="*/ 1247399 h 4222158"/>
              <a:gd name="connsiteX33" fmla="*/ 206326 w 358550"/>
              <a:gd name="connsiteY33" fmla="*/ 1401474 h 4222158"/>
              <a:gd name="connsiteX34" fmla="*/ 300812 w 358550"/>
              <a:gd name="connsiteY34" fmla="*/ 1632235 h 4222158"/>
              <a:gd name="connsiteX35" fmla="*/ 147503 w 358550"/>
              <a:gd name="connsiteY35" fmla="*/ 1989255 h 4222158"/>
              <a:gd name="connsiteX36" fmla="*/ 297559 w 358550"/>
              <a:gd name="connsiteY36" fmla="*/ 2134717 h 4222158"/>
              <a:gd name="connsiteX37" fmla="*/ 211111 w 358550"/>
              <a:gd name="connsiteY37" fmla="*/ 2248407 h 4222158"/>
              <a:gd name="connsiteX38" fmla="*/ 282757 w 358550"/>
              <a:gd name="connsiteY38" fmla="*/ 2564212 h 4222158"/>
              <a:gd name="connsiteX39" fmla="*/ 186612 w 358550"/>
              <a:gd name="connsiteY39" fmla="*/ 2689513 h 4222158"/>
              <a:gd name="connsiteX40" fmla="*/ 358551 w 358550"/>
              <a:gd name="connsiteY40" fmla="*/ 2883782 h 4222158"/>
              <a:gd name="connsiteX41" fmla="*/ 151204 w 358550"/>
              <a:gd name="connsiteY41" fmla="*/ 3169219 h 4222158"/>
              <a:gd name="connsiteX42" fmla="*/ 256536 w 358550"/>
              <a:gd name="connsiteY42" fmla="*/ 3276274 h 4222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358550" h="4222158">
                <a:moveTo>
                  <a:pt x="256536" y="3276274"/>
                </a:moveTo>
                <a:lnTo>
                  <a:pt x="145015" y="3411081"/>
                </a:lnTo>
                <a:lnTo>
                  <a:pt x="248434" y="3746281"/>
                </a:lnTo>
                <a:lnTo>
                  <a:pt x="74581" y="4019469"/>
                </a:lnTo>
                <a:lnTo>
                  <a:pt x="191652" y="4222158"/>
                </a:lnTo>
                <a:lnTo>
                  <a:pt x="118028" y="4222158"/>
                </a:lnTo>
                <a:lnTo>
                  <a:pt x="0" y="4017874"/>
                </a:lnTo>
                <a:lnTo>
                  <a:pt x="178765" y="3736839"/>
                </a:lnTo>
                <a:lnTo>
                  <a:pt x="74007" y="3397045"/>
                </a:lnTo>
                <a:lnTo>
                  <a:pt x="170662" y="3279974"/>
                </a:lnTo>
                <a:lnTo>
                  <a:pt x="67818" y="3175471"/>
                </a:lnTo>
                <a:lnTo>
                  <a:pt x="276888" y="2887673"/>
                </a:lnTo>
                <a:lnTo>
                  <a:pt x="104056" y="2692448"/>
                </a:lnTo>
                <a:lnTo>
                  <a:pt x="213855" y="2549092"/>
                </a:lnTo>
                <a:lnTo>
                  <a:pt x="142272" y="2233478"/>
                </a:lnTo>
                <a:lnTo>
                  <a:pt x="212515" y="2141160"/>
                </a:lnTo>
                <a:lnTo>
                  <a:pt x="71519" y="2004503"/>
                </a:lnTo>
                <a:lnTo>
                  <a:pt x="231654" y="1631661"/>
                </a:lnTo>
                <a:lnTo>
                  <a:pt x="133595" y="1392287"/>
                </a:lnTo>
                <a:lnTo>
                  <a:pt x="255834" y="1228451"/>
                </a:lnTo>
                <a:lnTo>
                  <a:pt x="240395" y="1035012"/>
                </a:lnTo>
                <a:lnTo>
                  <a:pt x="100675" y="969108"/>
                </a:lnTo>
                <a:lnTo>
                  <a:pt x="111266" y="480216"/>
                </a:lnTo>
                <a:lnTo>
                  <a:pt x="209070" y="178255"/>
                </a:lnTo>
                <a:lnTo>
                  <a:pt x="121154" y="29475"/>
                </a:lnTo>
                <a:lnTo>
                  <a:pt x="132766" y="0"/>
                </a:lnTo>
                <a:lnTo>
                  <a:pt x="201286" y="0"/>
                </a:lnTo>
                <a:lnTo>
                  <a:pt x="191908" y="23797"/>
                </a:lnTo>
                <a:lnTo>
                  <a:pt x="278610" y="170599"/>
                </a:lnTo>
                <a:lnTo>
                  <a:pt x="174873" y="490998"/>
                </a:lnTo>
                <a:lnTo>
                  <a:pt x="165303" y="929042"/>
                </a:lnTo>
                <a:lnTo>
                  <a:pt x="301004" y="993032"/>
                </a:lnTo>
                <a:lnTo>
                  <a:pt x="321420" y="1247399"/>
                </a:lnTo>
                <a:lnTo>
                  <a:pt x="206326" y="1401474"/>
                </a:lnTo>
                <a:lnTo>
                  <a:pt x="300812" y="1632235"/>
                </a:lnTo>
                <a:lnTo>
                  <a:pt x="147503" y="1989255"/>
                </a:lnTo>
                <a:lnTo>
                  <a:pt x="297559" y="2134717"/>
                </a:lnTo>
                <a:lnTo>
                  <a:pt x="211111" y="2248407"/>
                </a:lnTo>
                <a:lnTo>
                  <a:pt x="282757" y="2564212"/>
                </a:lnTo>
                <a:lnTo>
                  <a:pt x="186612" y="2689513"/>
                </a:lnTo>
                <a:lnTo>
                  <a:pt x="358551" y="2883782"/>
                </a:lnTo>
                <a:lnTo>
                  <a:pt x="151204" y="3169219"/>
                </a:lnTo>
                <a:lnTo>
                  <a:pt x="256536" y="3276274"/>
                </a:lnTo>
                <a:close/>
              </a:path>
            </a:pathLst>
          </a:custGeom>
          <a:solidFill>
            <a:schemeClr val="accent2"/>
          </a:solidFill>
          <a:ln w="63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82828"/>
              </a:solidFill>
              <a:effectLst/>
              <a:uLnTx/>
              <a:uFillTx/>
              <a:latin typeface="Segoe UI"/>
              <a:ea typeface="+mn-ea"/>
              <a:cs typeface="+mn-cs"/>
            </a:endParaRPr>
          </a:p>
        </p:txBody>
      </p:sp>
      <p:sp>
        <p:nvSpPr>
          <p:cNvPr id="2" name="Title 1">
            <a:extLst>
              <a:ext uri="{FF2B5EF4-FFF2-40B4-BE49-F238E27FC236}">
                <a16:creationId xmlns:a16="http://schemas.microsoft.com/office/drawing/2014/main" id="{D89929BE-D16A-45BA-B841-32E793408397}"/>
              </a:ext>
            </a:extLst>
          </p:cNvPr>
          <p:cNvSpPr>
            <a:spLocks noGrp="1"/>
          </p:cNvSpPr>
          <p:nvPr>
            <p:ph type="title"/>
          </p:nvPr>
        </p:nvSpPr>
        <p:spPr>
          <a:xfrm>
            <a:off x="426424" y="435824"/>
            <a:ext cx="11336039" cy="415498"/>
          </a:xfrm>
        </p:spPr>
        <p:txBody>
          <a:bodyPr>
            <a:spAutoFit/>
          </a:bodyPr>
          <a:lstStyle/>
          <a:p>
            <a:pPr algn="ctr"/>
            <a:r>
              <a:rPr lang="en-US"/>
              <a:t>The current learning landscape</a:t>
            </a:r>
          </a:p>
        </p:txBody>
      </p:sp>
      <p:sp>
        <p:nvSpPr>
          <p:cNvPr id="60" name="Rectangle 59">
            <a:extLst>
              <a:ext uri="{FF2B5EF4-FFF2-40B4-BE49-F238E27FC236}">
                <a16:creationId xmlns:a16="http://schemas.microsoft.com/office/drawing/2014/main" id="{95AF3BBC-A0A4-458D-897D-AF1824760F40}"/>
              </a:ext>
            </a:extLst>
          </p:cNvPr>
          <p:cNvSpPr/>
          <p:nvPr/>
        </p:nvSpPr>
        <p:spPr bwMode="auto">
          <a:xfrm>
            <a:off x="0" y="1379861"/>
            <a:ext cx="12192000" cy="41148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Times New Roman" panose="02020603050405020304" pitchFamily="18" charset="0"/>
                <a:cs typeface="Times New Roman" panose="02020603050405020304" pitchFamily="18" charset="0"/>
              </a:rPr>
              <a:t>Learning experience separated from everyday work surfaces</a:t>
            </a:r>
          </a:p>
        </p:txBody>
      </p:sp>
      <p:grpSp>
        <p:nvGrpSpPr>
          <p:cNvPr id="68" name="Group 67">
            <a:extLst>
              <a:ext uri="{FF2B5EF4-FFF2-40B4-BE49-F238E27FC236}">
                <a16:creationId xmlns:a16="http://schemas.microsoft.com/office/drawing/2014/main" id="{9A08E059-D12F-4990-9FB6-0C132D7CA8F4}"/>
              </a:ext>
            </a:extLst>
          </p:cNvPr>
          <p:cNvGrpSpPr/>
          <p:nvPr/>
        </p:nvGrpSpPr>
        <p:grpSpPr>
          <a:xfrm>
            <a:off x="427981" y="2011385"/>
            <a:ext cx="5578333" cy="244106"/>
            <a:chOff x="426424" y="1894312"/>
            <a:chExt cx="5578333" cy="530175"/>
          </a:xfrm>
        </p:grpSpPr>
        <p:cxnSp>
          <p:nvCxnSpPr>
            <p:cNvPr id="56" name="Straight Connector 55">
              <a:extLst>
                <a:ext uri="{FF2B5EF4-FFF2-40B4-BE49-F238E27FC236}">
                  <a16:creationId xmlns:a16="http://schemas.microsoft.com/office/drawing/2014/main" id="{56AE70A0-189F-4AD2-B9CC-267528CF7F0A}"/>
                </a:ext>
              </a:extLst>
            </p:cNvPr>
            <p:cNvCxnSpPr>
              <a:cxnSpLocks/>
            </p:cNvCxnSpPr>
            <p:nvPr/>
          </p:nvCxnSpPr>
          <p:spPr>
            <a:xfrm>
              <a:off x="426424" y="2159400"/>
              <a:ext cx="5578333" cy="0"/>
            </a:xfrm>
            <a:prstGeom prst="line">
              <a:avLst/>
            </a:prstGeom>
            <a:ln w="6350">
              <a:solidFill>
                <a:schemeClr val="accent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62" name="Rectangle 61">
              <a:extLst>
                <a:ext uri="{FF2B5EF4-FFF2-40B4-BE49-F238E27FC236}">
                  <a16:creationId xmlns:a16="http://schemas.microsoft.com/office/drawing/2014/main" id="{44DBA7B2-C1D4-4C1C-8525-0EBED675132D}"/>
                </a:ext>
              </a:extLst>
            </p:cNvPr>
            <p:cNvSpPr/>
            <p:nvPr/>
          </p:nvSpPr>
          <p:spPr bwMode="auto">
            <a:xfrm>
              <a:off x="2076592" y="1894312"/>
              <a:ext cx="2277996" cy="53017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200" cap="none" spc="0" normalizeH="0" baseline="0" noProof="0">
                  <a:ln>
                    <a:noFill/>
                  </a:ln>
                  <a:solidFill>
                    <a:srgbClr val="107C10"/>
                  </a:solidFill>
                  <a:effectLst/>
                  <a:uLnTx/>
                  <a:uFillTx/>
                  <a:latin typeface="Segoe UI Semibold"/>
                  <a:ea typeface="Segoe UI" pitchFamily="34" charset="0"/>
                  <a:cs typeface="Segoe UI" pitchFamily="34" charset="0"/>
                </a:rPr>
                <a:t>LEARNING SYSTEMS</a:t>
              </a:r>
              <a:endParaRPr kumimoji="0" lang="en-US" sz="1600" b="0" i="0" u="none" strike="noStrike" kern="1200" cap="none" spc="0" normalizeH="0" baseline="0" noProof="0">
                <a:ln>
                  <a:noFill/>
                </a:ln>
                <a:solidFill>
                  <a:srgbClr val="107C10"/>
                </a:solidFill>
                <a:effectLst/>
                <a:uLnTx/>
                <a:uFillTx/>
                <a:latin typeface="Segoe UI Semibold"/>
                <a:ea typeface="+mn-ea"/>
                <a:cs typeface="+mn-cs"/>
              </a:endParaRPr>
            </a:p>
          </p:txBody>
        </p:sp>
      </p:grpSp>
      <p:grpSp>
        <p:nvGrpSpPr>
          <p:cNvPr id="70" name="Group 69">
            <a:extLst>
              <a:ext uri="{FF2B5EF4-FFF2-40B4-BE49-F238E27FC236}">
                <a16:creationId xmlns:a16="http://schemas.microsoft.com/office/drawing/2014/main" id="{E30B16E2-416F-4E04-AF93-730F5172DA6C}"/>
              </a:ext>
            </a:extLst>
          </p:cNvPr>
          <p:cNvGrpSpPr/>
          <p:nvPr/>
        </p:nvGrpSpPr>
        <p:grpSpPr>
          <a:xfrm>
            <a:off x="6185687" y="2011385"/>
            <a:ext cx="5578333" cy="244106"/>
            <a:chOff x="6179703" y="1894312"/>
            <a:chExt cx="5578333" cy="530175"/>
          </a:xfrm>
        </p:grpSpPr>
        <p:cxnSp>
          <p:nvCxnSpPr>
            <p:cNvPr id="69" name="Straight Connector 68">
              <a:extLst>
                <a:ext uri="{FF2B5EF4-FFF2-40B4-BE49-F238E27FC236}">
                  <a16:creationId xmlns:a16="http://schemas.microsoft.com/office/drawing/2014/main" id="{1D6F584F-F065-4FBD-832C-389CA0006C45}"/>
                </a:ext>
              </a:extLst>
            </p:cNvPr>
            <p:cNvCxnSpPr>
              <a:cxnSpLocks/>
            </p:cNvCxnSpPr>
            <p:nvPr/>
          </p:nvCxnSpPr>
          <p:spPr>
            <a:xfrm>
              <a:off x="6179703" y="2159400"/>
              <a:ext cx="5578333" cy="0"/>
            </a:xfrm>
            <a:prstGeom prst="line">
              <a:avLst/>
            </a:prstGeom>
            <a:ln w="6350">
              <a:solidFill>
                <a:schemeClr val="accent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67" name="Rectangle 66">
              <a:extLst>
                <a:ext uri="{FF2B5EF4-FFF2-40B4-BE49-F238E27FC236}">
                  <a16:creationId xmlns:a16="http://schemas.microsoft.com/office/drawing/2014/main" id="{D54AC43F-03E0-4CC5-8DC3-AFB950283FFA}"/>
                </a:ext>
              </a:extLst>
            </p:cNvPr>
            <p:cNvSpPr/>
            <p:nvPr/>
          </p:nvSpPr>
          <p:spPr bwMode="auto">
            <a:xfrm>
              <a:off x="8021590" y="1894312"/>
              <a:ext cx="1894558" cy="53017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200" cap="none" spc="0" normalizeH="0" baseline="0" noProof="0">
                  <a:ln>
                    <a:noFill/>
                  </a:ln>
                  <a:solidFill>
                    <a:srgbClr val="107C10"/>
                  </a:solidFill>
                  <a:effectLst/>
                  <a:uLnTx/>
                  <a:uFillTx/>
                  <a:latin typeface="Segoe UI Semibold"/>
                  <a:ea typeface="Segoe UI" pitchFamily="34" charset="0"/>
                  <a:cs typeface="Segoe UI" pitchFamily="34" charset="0"/>
                </a:rPr>
                <a:t>WORK SYSTEMS</a:t>
              </a:r>
              <a:endParaRPr kumimoji="0" lang="en-US" sz="1600" b="0" i="0" u="none" strike="noStrike" kern="1200" cap="none" spc="0" normalizeH="0" baseline="0" noProof="0">
                <a:ln>
                  <a:noFill/>
                </a:ln>
                <a:solidFill>
                  <a:srgbClr val="107C10"/>
                </a:solidFill>
                <a:effectLst/>
                <a:uLnTx/>
                <a:uFillTx/>
                <a:latin typeface="Segoe UI Semibold"/>
                <a:ea typeface="+mn-ea"/>
                <a:cs typeface="+mn-cs"/>
              </a:endParaRPr>
            </a:p>
          </p:txBody>
        </p:sp>
      </p:grpSp>
      <p:sp>
        <p:nvSpPr>
          <p:cNvPr id="61" name="Rectangle 60">
            <a:extLst>
              <a:ext uri="{FF2B5EF4-FFF2-40B4-BE49-F238E27FC236}">
                <a16:creationId xmlns:a16="http://schemas.microsoft.com/office/drawing/2014/main" id="{7109E191-4E0A-4ADF-AAC6-C753ADC96F97}"/>
              </a:ext>
            </a:extLst>
          </p:cNvPr>
          <p:cNvSpPr>
            <a:spLocks/>
          </p:cNvSpPr>
          <p:nvPr/>
        </p:nvSpPr>
        <p:spPr>
          <a:xfrm>
            <a:off x="6256426" y="4632281"/>
            <a:ext cx="1792986" cy="430887"/>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82828"/>
                </a:solidFill>
                <a:effectLst/>
                <a:uLnTx/>
                <a:uFillTx/>
                <a:latin typeface="Segoe UI Semibold"/>
                <a:ea typeface="Segoe UI" pitchFamily="34" charset="0"/>
                <a:cs typeface="Segoe UI" pitchFamily="34" charset="0"/>
              </a:rPr>
              <a:t>Chat, meeting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82828"/>
                </a:solidFill>
                <a:effectLst/>
                <a:uLnTx/>
                <a:uFillTx/>
                <a:latin typeface="Segoe UI Semibold"/>
                <a:ea typeface="Segoe UI" pitchFamily="34" charset="0"/>
                <a:cs typeface="Segoe UI" pitchFamily="34" charset="0"/>
              </a:rPr>
              <a:t>and collaboration</a:t>
            </a:r>
            <a:endParaRPr kumimoji="0" lang="en-US" sz="1400" b="0" i="0" u="none" strike="noStrike" kern="1200" cap="none" spc="0" normalizeH="0" baseline="0" noProof="0">
              <a:ln>
                <a:noFill/>
              </a:ln>
              <a:solidFill>
                <a:srgbClr val="282828"/>
              </a:solidFill>
              <a:effectLst/>
              <a:uLnTx/>
              <a:uFillTx/>
              <a:latin typeface="Segoe UI Semibold"/>
              <a:ea typeface="+mn-ea"/>
              <a:cs typeface="+mn-cs"/>
            </a:endParaRPr>
          </a:p>
        </p:txBody>
      </p:sp>
      <p:sp>
        <p:nvSpPr>
          <p:cNvPr id="63" name="Rectangle 62">
            <a:extLst>
              <a:ext uri="{FF2B5EF4-FFF2-40B4-BE49-F238E27FC236}">
                <a16:creationId xmlns:a16="http://schemas.microsoft.com/office/drawing/2014/main" id="{065238DD-6FC6-44AD-BAE0-E62C7BD8DE3D}"/>
              </a:ext>
            </a:extLst>
          </p:cNvPr>
          <p:cNvSpPr>
            <a:spLocks/>
          </p:cNvSpPr>
          <p:nvPr/>
        </p:nvSpPr>
        <p:spPr>
          <a:xfrm>
            <a:off x="7696109" y="4632280"/>
            <a:ext cx="1792986" cy="430887"/>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82828"/>
                </a:solidFill>
                <a:effectLst/>
                <a:uLnTx/>
                <a:uFillTx/>
                <a:latin typeface="Segoe UI Semibold"/>
                <a:ea typeface="Segoe UI" pitchFamily="34" charset="0"/>
                <a:cs typeface="Segoe UI" pitchFamily="34" charset="0"/>
              </a:rPr>
              <a:t>Email an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82828"/>
                </a:solidFill>
                <a:effectLst/>
                <a:uLnTx/>
                <a:uFillTx/>
                <a:latin typeface="Segoe UI Semibold"/>
                <a:ea typeface="Segoe UI" pitchFamily="34" charset="0"/>
                <a:cs typeface="Segoe UI" pitchFamily="34" charset="0"/>
              </a:rPr>
              <a:t>calendar</a:t>
            </a:r>
            <a:endParaRPr kumimoji="0" lang="en-US" sz="1400" b="0" i="0" u="none" strike="noStrike" kern="1200" cap="none" spc="0" normalizeH="0" baseline="0" noProof="0">
              <a:ln>
                <a:noFill/>
              </a:ln>
              <a:solidFill>
                <a:srgbClr val="282828"/>
              </a:solidFill>
              <a:effectLst/>
              <a:uLnTx/>
              <a:uFillTx/>
              <a:latin typeface="Segoe UI Semibold"/>
              <a:ea typeface="+mn-ea"/>
              <a:cs typeface="+mn-cs"/>
            </a:endParaRPr>
          </a:p>
        </p:txBody>
      </p:sp>
      <p:sp>
        <p:nvSpPr>
          <p:cNvPr id="64" name="Rectangle 63">
            <a:extLst>
              <a:ext uri="{FF2B5EF4-FFF2-40B4-BE49-F238E27FC236}">
                <a16:creationId xmlns:a16="http://schemas.microsoft.com/office/drawing/2014/main" id="{47D02997-8750-48CF-A609-CC2C1B400A26}"/>
              </a:ext>
            </a:extLst>
          </p:cNvPr>
          <p:cNvSpPr>
            <a:spLocks/>
          </p:cNvSpPr>
          <p:nvPr/>
        </p:nvSpPr>
        <p:spPr>
          <a:xfrm>
            <a:off x="9024270" y="4656407"/>
            <a:ext cx="1792986" cy="430887"/>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82828"/>
                </a:solidFill>
                <a:effectLst/>
                <a:uLnTx/>
                <a:uFillTx/>
                <a:latin typeface="Segoe UI Semibold"/>
                <a:ea typeface="Segoe UI" pitchFamily="34" charset="0"/>
                <a:cs typeface="Segoe UI" pitchFamily="34" charset="0"/>
              </a:rPr>
              <a:t>Enterpris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82828"/>
                </a:solidFill>
                <a:effectLst/>
                <a:uLnTx/>
                <a:uFillTx/>
                <a:latin typeface="Segoe UI Semibold"/>
                <a:ea typeface="Segoe UI" pitchFamily="34" charset="0"/>
                <a:cs typeface="Segoe UI" pitchFamily="34" charset="0"/>
              </a:rPr>
              <a:t>search</a:t>
            </a:r>
            <a:endParaRPr kumimoji="0" lang="en-US" sz="1400" b="0" i="0" u="none" strike="noStrike" kern="1200" cap="none" spc="0" normalizeH="0" baseline="0" noProof="0">
              <a:ln>
                <a:noFill/>
              </a:ln>
              <a:solidFill>
                <a:srgbClr val="282828"/>
              </a:solidFill>
              <a:effectLst/>
              <a:uLnTx/>
              <a:uFillTx/>
              <a:latin typeface="Segoe UI Semibold"/>
              <a:ea typeface="+mn-ea"/>
              <a:cs typeface="+mn-cs"/>
            </a:endParaRPr>
          </a:p>
        </p:txBody>
      </p:sp>
      <p:sp>
        <p:nvSpPr>
          <p:cNvPr id="65" name="Rectangle 64">
            <a:extLst>
              <a:ext uri="{FF2B5EF4-FFF2-40B4-BE49-F238E27FC236}">
                <a16:creationId xmlns:a16="http://schemas.microsoft.com/office/drawing/2014/main" id="{17176493-7214-4C8E-893C-156918B47C59}"/>
              </a:ext>
            </a:extLst>
          </p:cNvPr>
          <p:cNvSpPr>
            <a:spLocks/>
          </p:cNvSpPr>
          <p:nvPr/>
        </p:nvSpPr>
        <p:spPr>
          <a:xfrm>
            <a:off x="10455231" y="4632279"/>
            <a:ext cx="1792986" cy="430887"/>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82828"/>
                </a:solidFill>
                <a:effectLst/>
                <a:uLnTx/>
                <a:uFillTx/>
                <a:latin typeface="Segoe UI Semibold"/>
                <a:ea typeface="Segoe UI" pitchFamily="34" charset="0"/>
                <a:cs typeface="Segoe UI" pitchFamily="34" charset="0"/>
              </a:rPr>
              <a:t>Files an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82828"/>
                </a:solidFill>
                <a:effectLst/>
                <a:uLnTx/>
                <a:uFillTx/>
                <a:latin typeface="Segoe UI Semibold"/>
                <a:ea typeface="Segoe UI" pitchFamily="34" charset="0"/>
                <a:cs typeface="Segoe UI" pitchFamily="34" charset="0"/>
              </a:rPr>
              <a:t>intranet</a:t>
            </a:r>
            <a:endParaRPr kumimoji="0" lang="en-US" sz="1400" b="0" i="0" u="none" strike="noStrike" kern="1200" cap="none" spc="0" normalizeH="0" baseline="0" noProof="0">
              <a:ln>
                <a:noFill/>
              </a:ln>
              <a:solidFill>
                <a:srgbClr val="282828"/>
              </a:solidFill>
              <a:effectLst/>
              <a:uLnTx/>
              <a:uFillTx/>
              <a:latin typeface="Segoe UI Semibold"/>
              <a:ea typeface="+mn-ea"/>
              <a:cs typeface="+mn-cs"/>
            </a:endParaRPr>
          </a:p>
        </p:txBody>
      </p:sp>
      <p:cxnSp>
        <p:nvCxnSpPr>
          <p:cNvPr id="66" name="Straight Connector 65">
            <a:extLst>
              <a:ext uri="{FF2B5EF4-FFF2-40B4-BE49-F238E27FC236}">
                <a16:creationId xmlns:a16="http://schemas.microsoft.com/office/drawing/2014/main" id="{55433AD9-0544-47D8-A645-CCA202CD77B5}"/>
              </a:ext>
            </a:extLst>
          </p:cNvPr>
          <p:cNvCxnSpPr>
            <a:cxnSpLocks/>
          </p:cNvCxnSpPr>
          <p:nvPr/>
        </p:nvCxnSpPr>
        <p:spPr>
          <a:xfrm flipH="1">
            <a:off x="5991225" y="6551613"/>
            <a:ext cx="6200775" cy="0"/>
          </a:xfrm>
          <a:prstGeom prst="line">
            <a:avLst/>
          </a:prstGeom>
          <a:solidFill>
            <a:schemeClr val="bg1">
              <a:lumMod val="95000"/>
            </a:schemeClr>
          </a:solidFill>
          <a:ln>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156306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wipe(down)">
                                      <p:cBhvr>
                                        <p:cTn id="7" dur="1000"/>
                                        <p:tgtEl>
                                          <p:spTgt spid="25"/>
                                        </p:tgtEl>
                                      </p:cBhvr>
                                    </p:animEffect>
                                  </p:childTnLst>
                                </p:cTn>
                              </p:par>
                              <p:par>
                                <p:cTn id="8" presetID="1" presetClass="exit" presetSubtype="0" fill="hold" grpId="1" nodeType="withEffect">
                                  <p:stCondLst>
                                    <p:cond delay="1300"/>
                                  </p:stCondLst>
                                  <p:childTnLst>
                                    <p:set>
                                      <p:cBhvr>
                                        <p:cTn id="9" dur="1" fill="hold">
                                          <p:stCondLst>
                                            <p:cond delay="0"/>
                                          </p:stCondLst>
                                        </p:cTn>
                                        <p:tgtEl>
                                          <p:spTgt spid="25"/>
                                        </p:tgtEl>
                                        <p:attrNameLst>
                                          <p:attrName>style.visibility</p:attrName>
                                        </p:attrNameLst>
                                      </p:cBhvr>
                                      <p:to>
                                        <p:strVal val="hidden"/>
                                      </p:to>
                                    </p:set>
                                  </p:childTnLst>
                                </p:cTn>
                              </p:par>
                              <p:par>
                                <p:cTn id="10" presetID="35" presetClass="path" presetSubtype="0" decel="100000" fill="hold" grpId="0" nodeType="withEffect">
                                  <p:stCondLst>
                                    <p:cond delay="1300"/>
                                  </p:stCondLst>
                                  <p:childTnLst>
                                    <p:animMotion origin="layout" path="M -2.08333E-6 4.07407E-6 L -0.01328 4.07407E-6 " pathEditMode="relative" rAng="0" ptsTypes="AA">
                                      <p:cBhvr>
                                        <p:cTn id="11" dur="2000" fill="hold"/>
                                        <p:tgtEl>
                                          <p:spTgt spid="22"/>
                                        </p:tgtEl>
                                        <p:attrNameLst>
                                          <p:attrName>ppt_x</p:attrName>
                                          <p:attrName>ppt_y</p:attrName>
                                        </p:attrNameLst>
                                      </p:cBhvr>
                                      <p:rCtr x="-664" y="0"/>
                                    </p:animMotion>
                                  </p:childTnLst>
                                </p:cTn>
                              </p:par>
                              <p:par>
                                <p:cTn id="12" presetID="35" presetClass="path" presetSubtype="0" decel="100000" fill="hold" nodeType="withEffect">
                                  <p:stCondLst>
                                    <p:cond delay="1300"/>
                                  </p:stCondLst>
                                  <p:childTnLst>
                                    <p:animMotion origin="layout" path="M -2.08333E-6 4.07407E-6 L -0.01328 4.07407E-6 " pathEditMode="relative" rAng="0" ptsTypes="AA">
                                      <p:cBhvr>
                                        <p:cTn id="13" dur="2000" fill="hold"/>
                                        <p:tgtEl>
                                          <p:spTgt spid="93"/>
                                        </p:tgtEl>
                                        <p:attrNameLst>
                                          <p:attrName>ppt_x</p:attrName>
                                          <p:attrName>ppt_y</p:attrName>
                                        </p:attrNameLst>
                                      </p:cBhvr>
                                      <p:rCtr x="-664" y="0"/>
                                    </p:animMotion>
                                  </p:childTnLst>
                                </p:cTn>
                              </p:par>
                              <p:par>
                                <p:cTn id="14" presetID="35" presetClass="path" presetSubtype="0" decel="100000" fill="hold" nodeType="withEffect">
                                  <p:stCondLst>
                                    <p:cond delay="1300"/>
                                  </p:stCondLst>
                                  <p:childTnLst>
                                    <p:animMotion origin="layout" path="M -2.08333E-6 4.07407E-6 L -0.01328 4.07407E-6 " pathEditMode="relative" rAng="0" ptsTypes="AA">
                                      <p:cBhvr>
                                        <p:cTn id="15" dur="2000" fill="hold"/>
                                        <p:tgtEl>
                                          <p:spTgt spid="94"/>
                                        </p:tgtEl>
                                        <p:attrNameLst>
                                          <p:attrName>ppt_x</p:attrName>
                                          <p:attrName>ppt_y</p:attrName>
                                        </p:attrNameLst>
                                      </p:cBhvr>
                                      <p:rCtr x="-664" y="0"/>
                                    </p:animMotion>
                                  </p:childTnLst>
                                </p:cTn>
                              </p:par>
                              <p:par>
                                <p:cTn id="16" presetID="35" presetClass="path" presetSubtype="0" decel="100000" fill="hold" nodeType="withEffect">
                                  <p:stCondLst>
                                    <p:cond delay="1300"/>
                                  </p:stCondLst>
                                  <p:childTnLst>
                                    <p:animMotion origin="layout" path="M -2.08333E-6 4.07407E-6 L -0.01328 4.07407E-6 " pathEditMode="relative" rAng="0" ptsTypes="AA">
                                      <p:cBhvr>
                                        <p:cTn id="17" dur="2000" fill="hold"/>
                                        <p:tgtEl>
                                          <p:spTgt spid="92"/>
                                        </p:tgtEl>
                                        <p:attrNameLst>
                                          <p:attrName>ppt_x</p:attrName>
                                          <p:attrName>ppt_y</p:attrName>
                                        </p:attrNameLst>
                                      </p:cBhvr>
                                      <p:rCtr x="-664" y="0"/>
                                    </p:animMotion>
                                  </p:childTnLst>
                                </p:cTn>
                              </p:par>
                              <p:par>
                                <p:cTn id="18" presetID="35" presetClass="path" presetSubtype="0" decel="100000" fill="hold" nodeType="withEffect">
                                  <p:stCondLst>
                                    <p:cond delay="1300"/>
                                  </p:stCondLst>
                                  <p:childTnLst>
                                    <p:animMotion origin="layout" path="M -2.08333E-6 4.07407E-6 L -0.01328 4.07407E-6 " pathEditMode="relative" rAng="0" ptsTypes="AA">
                                      <p:cBhvr>
                                        <p:cTn id="19" dur="2000" fill="hold"/>
                                        <p:tgtEl>
                                          <p:spTgt spid="105"/>
                                        </p:tgtEl>
                                        <p:attrNameLst>
                                          <p:attrName>ppt_x</p:attrName>
                                          <p:attrName>ppt_y</p:attrName>
                                        </p:attrNameLst>
                                      </p:cBhvr>
                                      <p:rCtr x="-664" y="0"/>
                                    </p:animMotion>
                                  </p:childTnLst>
                                </p:cTn>
                              </p:par>
                              <p:par>
                                <p:cTn id="20" presetID="35" presetClass="path" presetSubtype="0" decel="100000" fill="hold" grpId="0" nodeType="withEffect">
                                  <p:stCondLst>
                                    <p:cond delay="1300"/>
                                  </p:stCondLst>
                                  <p:childTnLst>
                                    <p:animMotion origin="layout" path="M -2.08333E-6 4.07407E-6 L -0.01328 4.07407E-6 " pathEditMode="relative" rAng="0" ptsTypes="AA">
                                      <p:cBhvr>
                                        <p:cTn id="21" dur="2000" fill="hold"/>
                                        <p:tgtEl>
                                          <p:spTgt spid="14"/>
                                        </p:tgtEl>
                                        <p:attrNameLst>
                                          <p:attrName>ppt_x</p:attrName>
                                          <p:attrName>ppt_y</p:attrName>
                                        </p:attrNameLst>
                                      </p:cBhvr>
                                      <p:rCtr x="-664" y="0"/>
                                    </p:animMotion>
                                  </p:childTnLst>
                                </p:cTn>
                              </p:par>
                              <p:par>
                                <p:cTn id="22" presetID="35" presetClass="path" presetSubtype="0" decel="100000" fill="hold" grpId="0" nodeType="withEffect">
                                  <p:stCondLst>
                                    <p:cond delay="1300"/>
                                  </p:stCondLst>
                                  <p:childTnLst>
                                    <p:animMotion origin="layout" path="M -2.08333E-6 4.07407E-6 L -0.01328 4.07407E-6 " pathEditMode="relative" rAng="0" ptsTypes="AA">
                                      <p:cBhvr>
                                        <p:cTn id="23" dur="2000" fill="hold"/>
                                        <p:tgtEl>
                                          <p:spTgt spid="12"/>
                                        </p:tgtEl>
                                        <p:attrNameLst>
                                          <p:attrName>ppt_x</p:attrName>
                                          <p:attrName>ppt_y</p:attrName>
                                        </p:attrNameLst>
                                      </p:cBhvr>
                                      <p:rCtr x="-664" y="0"/>
                                    </p:animMotion>
                                  </p:childTnLst>
                                </p:cTn>
                              </p:par>
                              <p:par>
                                <p:cTn id="24" presetID="35" presetClass="path" presetSubtype="0" decel="100000" fill="hold" nodeType="withEffect">
                                  <p:stCondLst>
                                    <p:cond delay="1300"/>
                                  </p:stCondLst>
                                  <p:childTnLst>
                                    <p:animMotion origin="layout" path="M -2.08333E-6 4.07407E-6 L -0.01328 4.07407E-6 " pathEditMode="relative" rAng="0" ptsTypes="AA">
                                      <p:cBhvr>
                                        <p:cTn id="25" dur="2000" fill="hold"/>
                                        <p:tgtEl>
                                          <p:spTgt spid="110"/>
                                        </p:tgtEl>
                                        <p:attrNameLst>
                                          <p:attrName>ppt_x</p:attrName>
                                          <p:attrName>ppt_y</p:attrName>
                                        </p:attrNameLst>
                                      </p:cBhvr>
                                      <p:rCtr x="-664" y="0"/>
                                    </p:animMotion>
                                  </p:childTnLst>
                                </p:cTn>
                              </p:par>
                              <p:par>
                                <p:cTn id="26" presetID="35" presetClass="path" presetSubtype="0" decel="100000" fill="hold" grpId="0" nodeType="withEffect">
                                  <p:stCondLst>
                                    <p:cond delay="1300"/>
                                  </p:stCondLst>
                                  <p:childTnLst>
                                    <p:animMotion origin="layout" path="M -2.08333E-6 4.07407E-6 L -0.01328 4.07407E-6 " pathEditMode="relative" rAng="0" ptsTypes="AA">
                                      <p:cBhvr>
                                        <p:cTn id="27" dur="2000" fill="hold"/>
                                        <p:tgtEl>
                                          <p:spTgt spid="10"/>
                                        </p:tgtEl>
                                        <p:attrNameLst>
                                          <p:attrName>ppt_x</p:attrName>
                                          <p:attrName>ppt_y</p:attrName>
                                        </p:attrNameLst>
                                      </p:cBhvr>
                                      <p:rCtr x="-664" y="0"/>
                                    </p:animMotion>
                                  </p:childTnLst>
                                </p:cTn>
                              </p:par>
                              <p:par>
                                <p:cTn id="28" presetID="35" presetClass="path" presetSubtype="0" decel="100000" fill="hold" grpId="0" nodeType="withEffect">
                                  <p:stCondLst>
                                    <p:cond delay="1300"/>
                                  </p:stCondLst>
                                  <p:childTnLst>
                                    <p:animMotion origin="layout" path="M -2.08333E-6 4.07407E-6 L -0.01328 4.07407E-6 " pathEditMode="relative" rAng="0" ptsTypes="AA">
                                      <p:cBhvr>
                                        <p:cTn id="29" dur="2000" fill="hold"/>
                                        <p:tgtEl>
                                          <p:spTgt spid="4"/>
                                        </p:tgtEl>
                                        <p:attrNameLst>
                                          <p:attrName>ppt_x</p:attrName>
                                          <p:attrName>ppt_y</p:attrName>
                                        </p:attrNameLst>
                                      </p:cBhvr>
                                      <p:rCtr x="-664" y="0"/>
                                    </p:animMotion>
                                  </p:childTnLst>
                                </p:cTn>
                              </p:par>
                              <p:par>
                                <p:cTn id="30" presetID="35" presetClass="path" presetSubtype="0" decel="100000" fill="hold" grpId="0" nodeType="withEffect">
                                  <p:stCondLst>
                                    <p:cond delay="1300"/>
                                  </p:stCondLst>
                                  <p:childTnLst>
                                    <p:animMotion origin="layout" path="M -2.08333E-6 4.07407E-6 L -0.01328 4.07407E-6 " pathEditMode="relative" rAng="0" ptsTypes="AA">
                                      <p:cBhvr>
                                        <p:cTn id="31" dur="2000" fill="hold"/>
                                        <p:tgtEl>
                                          <p:spTgt spid="6"/>
                                        </p:tgtEl>
                                        <p:attrNameLst>
                                          <p:attrName>ppt_x</p:attrName>
                                          <p:attrName>ppt_y</p:attrName>
                                        </p:attrNameLst>
                                      </p:cBhvr>
                                      <p:rCtr x="-664" y="0"/>
                                    </p:animMotion>
                                  </p:childTnLst>
                                </p:cTn>
                              </p:par>
                              <p:par>
                                <p:cTn id="32" presetID="35" presetClass="path" presetSubtype="0" decel="100000" fill="hold" grpId="0" nodeType="withEffect">
                                  <p:stCondLst>
                                    <p:cond delay="1300"/>
                                  </p:stCondLst>
                                  <p:childTnLst>
                                    <p:animMotion origin="layout" path="M -2.08333E-6 4.07407E-6 L -0.01328 4.07407E-6 " pathEditMode="relative" rAng="0" ptsTypes="AA">
                                      <p:cBhvr>
                                        <p:cTn id="33" dur="2000" fill="hold"/>
                                        <p:tgtEl>
                                          <p:spTgt spid="8"/>
                                        </p:tgtEl>
                                        <p:attrNameLst>
                                          <p:attrName>ppt_x</p:attrName>
                                          <p:attrName>ppt_y</p:attrName>
                                        </p:attrNameLst>
                                      </p:cBhvr>
                                      <p:rCtr x="-664" y="0"/>
                                    </p:animMotion>
                                  </p:childTnLst>
                                </p:cTn>
                              </p:par>
                              <p:par>
                                <p:cTn id="34" presetID="63" presetClass="path" presetSubtype="0" decel="100000" fill="hold" grpId="0" nodeType="withEffect">
                                  <p:stCondLst>
                                    <p:cond delay="1300"/>
                                  </p:stCondLst>
                                  <p:childTnLst>
                                    <p:animMotion origin="layout" path="M 4.375E-6 4.07407E-6 L 0.00963 4.07407E-6 " pathEditMode="relative" rAng="0" ptsTypes="AA">
                                      <p:cBhvr>
                                        <p:cTn id="35" dur="2000" fill="hold"/>
                                        <p:tgtEl>
                                          <p:spTgt spid="24"/>
                                        </p:tgtEl>
                                        <p:attrNameLst>
                                          <p:attrName>ppt_x</p:attrName>
                                          <p:attrName>ppt_y</p:attrName>
                                        </p:attrNameLst>
                                      </p:cBhvr>
                                      <p:rCtr x="482" y="0"/>
                                    </p:animMotion>
                                  </p:childTnLst>
                                </p:cTn>
                              </p:par>
                              <p:par>
                                <p:cTn id="36" presetID="63" presetClass="path" presetSubtype="0" decel="100000" fill="hold" nodeType="withEffect">
                                  <p:stCondLst>
                                    <p:cond delay="1300"/>
                                  </p:stCondLst>
                                  <p:childTnLst>
                                    <p:animMotion origin="layout" path="M 4.375E-6 4.07407E-6 L 0.00963 4.07407E-6 " pathEditMode="relative" rAng="0" ptsTypes="AA">
                                      <p:cBhvr>
                                        <p:cTn id="37" dur="2000" fill="hold"/>
                                        <p:tgtEl>
                                          <p:spTgt spid="28"/>
                                        </p:tgtEl>
                                        <p:attrNameLst>
                                          <p:attrName>ppt_x</p:attrName>
                                          <p:attrName>ppt_y</p:attrName>
                                        </p:attrNameLst>
                                      </p:cBhvr>
                                      <p:rCtr x="482" y="0"/>
                                    </p:animMotion>
                                  </p:childTnLst>
                                </p:cTn>
                              </p:par>
                              <p:par>
                                <p:cTn id="38" presetID="63" presetClass="path" presetSubtype="0" decel="100000" fill="hold" nodeType="withEffect">
                                  <p:stCondLst>
                                    <p:cond delay="1300"/>
                                  </p:stCondLst>
                                  <p:childTnLst>
                                    <p:animMotion origin="layout" path="M 4.375E-6 4.07407E-6 L 0.00963 4.07407E-6 " pathEditMode="relative" rAng="0" ptsTypes="AA">
                                      <p:cBhvr>
                                        <p:cTn id="39" dur="2000" fill="hold"/>
                                        <p:tgtEl>
                                          <p:spTgt spid="2054"/>
                                        </p:tgtEl>
                                        <p:attrNameLst>
                                          <p:attrName>ppt_x</p:attrName>
                                          <p:attrName>ppt_y</p:attrName>
                                        </p:attrNameLst>
                                      </p:cBhvr>
                                      <p:rCtr x="482" y="0"/>
                                    </p:animMotion>
                                  </p:childTnLst>
                                </p:cTn>
                              </p:par>
                              <p:par>
                                <p:cTn id="40" presetID="63" presetClass="path" presetSubtype="0" decel="100000" fill="hold" nodeType="withEffect">
                                  <p:stCondLst>
                                    <p:cond delay="1300"/>
                                  </p:stCondLst>
                                  <p:childTnLst>
                                    <p:animMotion origin="layout" path="M 4.375E-6 4.07407E-6 L 0.00963 4.07407E-6 " pathEditMode="relative" rAng="0" ptsTypes="AA">
                                      <p:cBhvr>
                                        <p:cTn id="41" dur="2000" fill="hold"/>
                                        <p:tgtEl>
                                          <p:spTgt spid="26"/>
                                        </p:tgtEl>
                                        <p:attrNameLst>
                                          <p:attrName>ppt_x</p:attrName>
                                          <p:attrName>ppt_y</p:attrName>
                                        </p:attrNameLst>
                                      </p:cBhvr>
                                      <p:rCtr x="482" y="0"/>
                                    </p:animMotion>
                                  </p:childTnLst>
                                </p:cTn>
                              </p:par>
                              <p:par>
                                <p:cTn id="42" presetID="63" presetClass="path" presetSubtype="0" decel="100000" fill="hold" nodeType="withEffect">
                                  <p:stCondLst>
                                    <p:cond delay="1300"/>
                                  </p:stCondLst>
                                  <p:childTnLst>
                                    <p:animMotion origin="layout" path="M 4.375E-6 4.07407E-6 L 0.00963 4.07407E-6 " pathEditMode="relative" rAng="0" ptsTypes="AA">
                                      <p:cBhvr>
                                        <p:cTn id="43" dur="2000" fill="hold"/>
                                        <p:tgtEl>
                                          <p:spTgt spid="2050"/>
                                        </p:tgtEl>
                                        <p:attrNameLst>
                                          <p:attrName>ppt_x</p:attrName>
                                          <p:attrName>ppt_y</p:attrName>
                                        </p:attrNameLst>
                                      </p:cBhvr>
                                      <p:rCtr x="482" y="0"/>
                                    </p:animMotion>
                                  </p:childTnLst>
                                </p:cTn>
                              </p:par>
                              <p:par>
                                <p:cTn id="44" presetID="63" presetClass="path" presetSubtype="0" decel="100000" fill="hold" nodeType="withEffect">
                                  <p:stCondLst>
                                    <p:cond delay="1300"/>
                                  </p:stCondLst>
                                  <p:childTnLst>
                                    <p:animMotion origin="layout" path="M 4.375E-6 4.07407E-6 L 0.00963 4.07407E-6 " pathEditMode="relative" rAng="0" ptsTypes="AA">
                                      <p:cBhvr>
                                        <p:cTn id="45" dur="2000" fill="hold"/>
                                        <p:tgtEl>
                                          <p:spTgt spid="2052"/>
                                        </p:tgtEl>
                                        <p:attrNameLst>
                                          <p:attrName>ppt_x</p:attrName>
                                          <p:attrName>ppt_y</p:attrName>
                                        </p:attrNameLst>
                                      </p:cBhvr>
                                      <p:rCtr x="482" y="0"/>
                                    </p:animMotion>
                                  </p:childTnLst>
                                </p:cTn>
                              </p:par>
                              <p:par>
                                <p:cTn id="46" presetID="35" presetClass="path" presetSubtype="0" decel="100000" fill="hold" nodeType="withEffect">
                                  <p:stCondLst>
                                    <p:cond delay="1300"/>
                                  </p:stCondLst>
                                  <p:childTnLst>
                                    <p:animMotion origin="layout" path="M -1.25E-6 -4.07407E-6 L -0.01328 -4.07407E-6 " pathEditMode="relative" rAng="0" ptsTypes="AA">
                                      <p:cBhvr>
                                        <p:cTn id="47" dur="2000" fill="hold"/>
                                        <p:tgtEl>
                                          <p:spTgt spid="20"/>
                                        </p:tgtEl>
                                        <p:attrNameLst>
                                          <p:attrName>ppt_x</p:attrName>
                                          <p:attrName>ppt_y</p:attrName>
                                        </p:attrNameLst>
                                      </p:cBhvr>
                                      <p:rCtr x="-664" y="0"/>
                                    </p:animMotion>
                                  </p:childTnLst>
                                </p:cTn>
                              </p:par>
                              <p:par>
                                <p:cTn id="48" presetID="35" presetClass="path" presetSubtype="0" decel="100000" fill="hold" grpId="0" nodeType="withEffect">
                                  <p:stCondLst>
                                    <p:cond delay="1300"/>
                                  </p:stCondLst>
                                  <p:childTnLst>
                                    <p:animMotion origin="layout" path="M -2.08333E-6 4.07407E-6 L -0.01328 4.07407E-6 " pathEditMode="relative" rAng="0" ptsTypes="AA">
                                      <p:cBhvr>
                                        <p:cTn id="49" dur="2000" spd="-100000" fill="hold"/>
                                        <p:tgtEl>
                                          <p:spTgt spid="61"/>
                                        </p:tgtEl>
                                        <p:attrNameLst>
                                          <p:attrName>ppt_x</p:attrName>
                                          <p:attrName>ppt_y</p:attrName>
                                        </p:attrNameLst>
                                      </p:cBhvr>
                                      <p:rCtr x="-664" y="0"/>
                                    </p:animMotion>
                                  </p:childTnLst>
                                </p:cTn>
                              </p:par>
                              <p:par>
                                <p:cTn id="50" presetID="35" presetClass="path" presetSubtype="0" decel="100000" fill="hold" grpId="0" nodeType="withEffect">
                                  <p:stCondLst>
                                    <p:cond delay="1300"/>
                                  </p:stCondLst>
                                  <p:childTnLst>
                                    <p:animMotion origin="layout" path="M -2.08333E-6 4.07407E-6 L -0.01328 4.07407E-6 " pathEditMode="relative" rAng="0" ptsTypes="AA">
                                      <p:cBhvr>
                                        <p:cTn id="51" dur="2000" spd="-100000" fill="hold"/>
                                        <p:tgtEl>
                                          <p:spTgt spid="63"/>
                                        </p:tgtEl>
                                        <p:attrNameLst>
                                          <p:attrName>ppt_x</p:attrName>
                                          <p:attrName>ppt_y</p:attrName>
                                        </p:attrNameLst>
                                      </p:cBhvr>
                                      <p:rCtr x="-664" y="0"/>
                                    </p:animMotion>
                                  </p:childTnLst>
                                </p:cTn>
                              </p:par>
                              <p:par>
                                <p:cTn id="52" presetID="35" presetClass="path" presetSubtype="0" decel="100000" fill="hold" grpId="0" nodeType="withEffect">
                                  <p:stCondLst>
                                    <p:cond delay="1300"/>
                                  </p:stCondLst>
                                  <p:childTnLst>
                                    <p:animMotion origin="layout" path="M -2.08333E-6 4.07407E-6 L -0.01328 4.07407E-6 " pathEditMode="relative" rAng="0" ptsTypes="AA">
                                      <p:cBhvr>
                                        <p:cTn id="53" dur="2000" spd="-100000" fill="hold"/>
                                        <p:tgtEl>
                                          <p:spTgt spid="64"/>
                                        </p:tgtEl>
                                        <p:attrNameLst>
                                          <p:attrName>ppt_x</p:attrName>
                                          <p:attrName>ppt_y</p:attrName>
                                        </p:attrNameLst>
                                      </p:cBhvr>
                                      <p:rCtr x="-664" y="0"/>
                                    </p:animMotion>
                                  </p:childTnLst>
                                </p:cTn>
                              </p:par>
                              <p:par>
                                <p:cTn id="54" presetID="35" presetClass="path" presetSubtype="0" decel="100000" fill="hold" grpId="0" nodeType="withEffect">
                                  <p:stCondLst>
                                    <p:cond delay="1300"/>
                                  </p:stCondLst>
                                  <p:childTnLst>
                                    <p:animMotion origin="layout" path="M -2.08333E-6 4.07407E-6 L -0.01328 4.07407E-6 " pathEditMode="relative" rAng="0" ptsTypes="AA">
                                      <p:cBhvr>
                                        <p:cTn id="55" dur="2000" spd="-100000" fill="hold"/>
                                        <p:tgtEl>
                                          <p:spTgt spid="65"/>
                                        </p:tgtEl>
                                        <p:attrNameLst>
                                          <p:attrName>ppt_x</p:attrName>
                                          <p:attrName>ppt_y</p:attrName>
                                        </p:attrNameLst>
                                      </p:cBhvr>
                                      <p:rCtr x="-664" y="0"/>
                                    </p:animMotion>
                                  </p:childTnLst>
                                </p:cTn>
                              </p:par>
                              <p:par>
                                <p:cTn id="56" presetID="63" presetClass="path" presetSubtype="0" decel="100000" fill="hold" nodeType="withEffect">
                                  <p:stCondLst>
                                    <p:cond delay="1300"/>
                                  </p:stCondLst>
                                  <p:childTnLst>
                                    <p:animMotion origin="layout" path="M -3.125E-6 -4.07407E-6 L 0.00964 -4.07407E-6 " pathEditMode="relative" rAng="0" ptsTypes="AA">
                                      <p:cBhvr>
                                        <p:cTn id="57" dur="2000" fill="hold"/>
                                        <p:tgtEl>
                                          <p:spTgt spid="66"/>
                                        </p:tgtEl>
                                        <p:attrNameLst>
                                          <p:attrName>ppt_x</p:attrName>
                                          <p:attrName>ppt_y</p:attrName>
                                        </p:attrNameLst>
                                      </p:cBhvr>
                                      <p:rCtr x="48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2" grpId="0" animBg="1"/>
      <p:bldP spid="4" grpId="0"/>
      <p:bldP spid="10" grpId="0"/>
      <p:bldP spid="6" grpId="0"/>
      <p:bldP spid="12" grpId="0"/>
      <p:bldP spid="8" grpId="0"/>
      <p:bldP spid="14" grpId="0"/>
      <p:bldP spid="25" grpId="0" animBg="1"/>
      <p:bldP spid="25" grpId="1" animBg="1"/>
      <p:bldP spid="61" grpId="0"/>
      <p:bldP spid="63" grpId="0"/>
      <p:bldP spid="64" grpId="0"/>
      <p:bldP spid="65"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Rounded Corners 11">
            <a:extLst>
              <a:ext uri="{FF2B5EF4-FFF2-40B4-BE49-F238E27FC236}">
                <a16:creationId xmlns:a16="http://schemas.microsoft.com/office/drawing/2014/main" id="{238E0335-D3F3-459C-9BBE-A6FC0EF0CE7F}"/>
              </a:ext>
              <a:ext uri="{C183D7F6-B498-43B3-948B-1728B52AA6E4}">
                <adec:decorative xmlns:adec="http://schemas.microsoft.com/office/drawing/2017/decorative" val="1"/>
              </a:ext>
            </a:extLst>
          </p:cNvPr>
          <p:cNvSpPr/>
          <p:nvPr/>
        </p:nvSpPr>
        <p:spPr bwMode="auto">
          <a:xfrm>
            <a:off x="794889" y="2060289"/>
            <a:ext cx="6917922" cy="3952189"/>
          </a:xfrm>
          <a:prstGeom prst="roundRect">
            <a:avLst>
              <a:gd name="adj" fmla="val 2758"/>
            </a:avLst>
          </a:prstGeom>
          <a:solidFill>
            <a:schemeClr val="bg1"/>
          </a:solidFill>
          <a:ln>
            <a:noFill/>
          </a:ln>
          <a:effectLst>
            <a:outerShdw blurRad="482600" dist="127000" dir="2700000" sx="101000" sy="101000" algn="ctr" rotWithShape="0">
              <a:prstClr val="black">
                <a:alpha val="29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3" name="Arrow: Bent 22">
            <a:extLst>
              <a:ext uri="{FF2B5EF4-FFF2-40B4-BE49-F238E27FC236}">
                <a16:creationId xmlns:a16="http://schemas.microsoft.com/office/drawing/2014/main" id="{D2C6FEE4-EF88-44FD-B6A6-4B43651A6AA7}"/>
              </a:ext>
            </a:extLst>
          </p:cNvPr>
          <p:cNvSpPr/>
          <p:nvPr/>
        </p:nvSpPr>
        <p:spPr bwMode="auto">
          <a:xfrm>
            <a:off x="8342439" y="2563745"/>
            <a:ext cx="3849561" cy="2777243"/>
          </a:xfrm>
          <a:prstGeom prst="bentArrow">
            <a:avLst>
              <a:gd name="adj1" fmla="val 25000"/>
              <a:gd name="adj2" fmla="val 0"/>
              <a:gd name="adj3" fmla="val 25000"/>
              <a:gd name="adj4" fmla="val 5517"/>
            </a:avLst>
          </a:prstGeom>
          <a:solidFill>
            <a:schemeClr val="bg1">
              <a:lumMod val="65000"/>
            </a:schemeClr>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endParaRPr kumimoji="0" lang="en-IN" sz="1800" b="1" i="0" u="none" strike="noStrike" kern="1200" cap="none" spc="0" normalizeH="0" baseline="0" noProof="0">
              <a:ln>
                <a:noFill/>
              </a:ln>
              <a:solidFill>
                <a:srgbClr val="282828"/>
              </a:solidFill>
              <a:effectLst/>
              <a:uLnTx/>
              <a:uFillTx/>
              <a:latin typeface="Segoe UI" panose="020B0502040204020203" pitchFamily="34" charset="0"/>
              <a:ea typeface="Times New Roman" panose="02020603050405020304" pitchFamily="18" charset="0"/>
              <a:cs typeface="Times New Roman" panose="02020603050405020304" pitchFamily="18" charset="0"/>
            </a:endParaRPr>
          </a:p>
        </p:txBody>
      </p:sp>
      <p:sp>
        <p:nvSpPr>
          <p:cNvPr id="67" name="Arrow: Bent 66">
            <a:extLst>
              <a:ext uri="{FF2B5EF4-FFF2-40B4-BE49-F238E27FC236}">
                <a16:creationId xmlns:a16="http://schemas.microsoft.com/office/drawing/2014/main" id="{6745C537-BEF9-42A2-9A85-C352D3209D37}"/>
              </a:ext>
            </a:extLst>
          </p:cNvPr>
          <p:cNvSpPr/>
          <p:nvPr/>
        </p:nvSpPr>
        <p:spPr bwMode="auto">
          <a:xfrm rot="10800000">
            <a:off x="-1" y="3021905"/>
            <a:ext cx="8342439" cy="3513776"/>
          </a:xfrm>
          <a:prstGeom prst="bentArrow">
            <a:avLst>
              <a:gd name="adj1" fmla="val 25000"/>
              <a:gd name="adj2" fmla="val 0"/>
              <a:gd name="adj3" fmla="val 25000"/>
              <a:gd name="adj4" fmla="val 6537"/>
            </a:avLst>
          </a:prstGeom>
          <a:solidFill>
            <a:schemeClr val="bg1">
              <a:lumMod val="65000"/>
            </a:schemeClr>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endParaRPr kumimoji="0" lang="en-IN" sz="1800" b="1" i="0" u="none" strike="noStrike" kern="1200" cap="none" spc="0" normalizeH="0" baseline="0" noProof="0">
              <a:ln>
                <a:noFill/>
              </a:ln>
              <a:solidFill>
                <a:srgbClr val="282828"/>
              </a:solidFill>
              <a:effectLst/>
              <a:uLnTx/>
              <a:uFillTx/>
              <a:latin typeface="Segoe UI" panose="020B0502040204020203" pitchFamily="34" charset="0"/>
              <a:ea typeface="Times New Roman" panose="02020603050405020304" pitchFamily="18" charset="0"/>
              <a:cs typeface="Times New Roman" panose="02020603050405020304" pitchFamily="18" charset="0"/>
            </a:endParaRPr>
          </a:p>
        </p:txBody>
      </p:sp>
      <p:cxnSp>
        <p:nvCxnSpPr>
          <p:cNvPr id="69" name="Straight Connector 68">
            <a:extLst>
              <a:ext uri="{FF2B5EF4-FFF2-40B4-BE49-F238E27FC236}">
                <a16:creationId xmlns:a16="http://schemas.microsoft.com/office/drawing/2014/main" id="{10AB7566-A2E7-4197-BD89-8087D3184092}"/>
              </a:ext>
            </a:extLst>
          </p:cNvPr>
          <p:cNvCxnSpPr>
            <a:cxnSpLocks/>
          </p:cNvCxnSpPr>
          <p:nvPr/>
        </p:nvCxnSpPr>
        <p:spPr>
          <a:xfrm>
            <a:off x="8342439" y="2926155"/>
            <a:ext cx="0" cy="919583"/>
          </a:xfrm>
          <a:prstGeom prst="line">
            <a:avLst/>
          </a:prstGeom>
          <a:ln w="25400"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2" name="Section 1 sub tour 2">
            <a:hlinkClick r:id="" action="ppaction://media"/>
            <a:extLst>
              <a:ext uri="{FF2B5EF4-FFF2-40B4-BE49-F238E27FC236}">
                <a16:creationId xmlns:a16="http://schemas.microsoft.com/office/drawing/2014/main" id="{8447C09A-037E-4C98-BFF2-45B583225437}"/>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1061008" y="2328599"/>
            <a:ext cx="6366633" cy="3434679"/>
          </a:xfrm>
          <a:prstGeom prst="rect">
            <a:avLst/>
          </a:prstGeom>
        </p:spPr>
      </p:pic>
      <p:grpSp>
        <p:nvGrpSpPr>
          <p:cNvPr id="9" name="Group 8">
            <a:extLst>
              <a:ext uri="{FF2B5EF4-FFF2-40B4-BE49-F238E27FC236}">
                <a16:creationId xmlns:a16="http://schemas.microsoft.com/office/drawing/2014/main" id="{9940AFA3-8CB9-2F1C-CCE6-F84E93C2FF16}"/>
              </a:ext>
            </a:extLst>
          </p:cNvPr>
          <p:cNvGrpSpPr/>
          <p:nvPr/>
        </p:nvGrpSpPr>
        <p:grpSpPr>
          <a:xfrm>
            <a:off x="6811132" y="3636844"/>
            <a:ext cx="1301578" cy="2610404"/>
            <a:chOff x="10231655" y="1640444"/>
            <a:chExt cx="1831557" cy="3673317"/>
          </a:xfrm>
        </p:grpSpPr>
        <p:pic>
          <p:nvPicPr>
            <p:cNvPr id="10" name="Picture 9" descr="Graphical user interface, text, application, chat or text message&#10;&#10;Description automatically generated">
              <a:extLst>
                <a:ext uri="{FF2B5EF4-FFF2-40B4-BE49-F238E27FC236}">
                  <a16:creationId xmlns:a16="http://schemas.microsoft.com/office/drawing/2014/main" id="{604988F0-7737-5DFF-6681-17A7D2B84CB4}"/>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0353981" y="1728298"/>
              <a:ext cx="1586904" cy="3436175"/>
            </a:xfrm>
            <a:prstGeom prst="rect">
              <a:avLst/>
            </a:prstGeom>
          </p:spPr>
        </p:pic>
        <p:pic>
          <p:nvPicPr>
            <p:cNvPr id="11" name="Picture 2" descr="See the source image">
              <a:extLst>
                <a:ext uri="{FF2B5EF4-FFF2-40B4-BE49-F238E27FC236}">
                  <a16:creationId xmlns:a16="http://schemas.microsoft.com/office/drawing/2014/main" id="{17843C7D-256A-A9EF-6EAE-991A5A506646}"/>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0231655" y="1640444"/>
              <a:ext cx="1831557" cy="3673317"/>
            </a:xfrm>
            <a:prstGeom prst="rect">
              <a:avLst/>
            </a:prstGeom>
            <a:noFill/>
            <a:extLst>
              <a:ext uri="{909E8E84-426E-40DD-AFC4-6F175D3DCCD1}">
                <a14:hiddenFill xmlns:a14="http://schemas.microsoft.com/office/drawing/2010/main">
                  <a:solidFill>
                    <a:srgbClr val="FFFFFF"/>
                  </a:solidFill>
                </a14:hiddenFill>
              </a:ext>
            </a:extLst>
          </p:spPr>
        </p:pic>
      </p:grpSp>
      <p:sp>
        <p:nvSpPr>
          <p:cNvPr id="16" name="Oval 15">
            <a:extLst>
              <a:ext uri="{FF2B5EF4-FFF2-40B4-BE49-F238E27FC236}">
                <a16:creationId xmlns:a16="http://schemas.microsoft.com/office/drawing/2014/main" id="{2FDABAA8-C7BD-C7FD-A61A-2733A4324C6D}"/>
              </a:ext>
            </a:extLst>
          </p:cNvPr>
          <p:cNvSpPr/>
          <p:nvPr/>
        </p:nvSpPr>
        <p:spPr bwMode="auto">
          <a:xfrm>
            <a:off x="9875484" y="2173368"/>
            <a:ext cx="780588" cy="780754"/>
          </a:xfrm>
          <a:prstGeom prst="ellipse">
            <a:avLst/>
          </a:prstGeom>
          <a:solidFill>
            <a:schemeClr val="bg1"/>
          </a:solidFill>
          <a:ln w="28575">
            <a:solidFill>
              <a:srgbClr val="00857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17" name="Graphic 16">
            <a:extLst>
              <a:ext uri="{FF2B5EF4-FFF2-40B4-BE49-F238E27FC236}">
                <a16:creationId xmlns:a16="http://schemas.microsoft.com/office/drawing/2014/main" id="{3D3145BD-1E15-D464-42A2-6F6E6313B84D}"/>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9932048" y="2328599"/>
            <a:ext cx="666437" cy="550165"/>
          </a:xfrm>
          <a:prstGeom prst="rect">
            <a:avLst/>
          </a:prstGeom>
        </p:spPr>
      </p:pic>
      <p:sp>
        <p:nvSpPr>
          <p:cNvPr id="3" name="!!Rectangle 22">
            <a:extLst>
              <a:ext uri="{FF2B5EF4-FFF2-40B4-BE49-F238E27FC236}">
                <a16:creationId xmlns:a16="http://schemas.microsoft.com/office/drawing/2014/main" id="{E1BF09DA-BA7F-E4A5-943D-B2479FC20820}"/>
              </a:ext>
            </a:extLst>
          </p:cNvPr>
          <p:cNvSpPr>
            <a:spLocks/>
          </p:cNvSpPr>
          <p:nvPr/>
        </p:nvSpPr>
        <p:spPr>
          <a:xfrm>
            <a:off x="8430358" y="3210885"/>
            <a:ext cx="3790948" cy="1692771"/>
          </a:xfrm>
          <a:prstGeom prst="rect">
            <a:avLst/>
          </a:prstGeom>
        </p:spPr>
        <p:txBody>
          <a:bodyPr wrap="square" lIns="0" tIns="0" rIns="0" bIns="0" numCol="1">
            <a:spAutoFit/>
          </a:bodyPr>
          <a:lstStyle/>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800" b="0" i="0" u="none" strike="noStrike" kern="1200" cap="none" spc="0" normalizeH="0" baseline="0" noProof="0">
                <a:ln>
                  <a:noFill/>
                </a:ln>
                <a:solidFill>
                  <a:srgbClr val="282828"/>
                </a:solidFill>
                <a:effectLst/>
                <a:uLnTx/>
                <a:uFillTx/>
                <a:latin typeface="Segoe UI"/>
                <a:ea typeface="+mn-ea"/>
                <a:cs typeface="+mn-cs"/>
              </a:rPr>
              <a:t>Share learnings</a:t>
            </a:r>
          </a:p>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800" b="0" i="0" u="none" strike="noStrike" kern="1200" cap="none" spc="0" normalizeH="0" baseline="0" noProof="0">
                <a:ln>
                  <a:noFill/>
                </a:ln>
                <a:solidFill>
                  <a:srgbClr val="282828"/>
                </a:solidFill>
                <a:effectLst/>
                <a:uLnTx/>
                <a:uFillTx/>
                <a:latin typeface="Segoe UI"/>
                <a:ea typeface="+mn-ea"/>
                <a:cs typeface="+mn-cs"/>
              </a:rPr>
              <a:t>Learning assignments</a:t>
            </a:r>
          </a:p>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800" b="0" i="0" u="none" strike="noStrike" kern="1200" cap="none" spc="0" normalizeH="0" baseline="0" noProof="0">
                <a:ln>
                  <a:noFill/>
                </a:ln>
                <a:solidFill>
                  <a:srgbClr val="282828"/>
                </a:solidFill>
                <a:effectLst/>
                <a:uLnTx/>
                <a:uFillTx/>
                <a:latin typeface="Segoe UI"/>
                <a:ea typeface="Segoe UI" pitchFamily="34" charset="0"/>
                <a:cs typeface="Segoe UI" pitchFamily="34" charset="0"/>
              </a:rPr>
              <a:t>Search for learning content</a:t>
            </a:r>
          </a:p>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800" b="0" i="0" u="none" strike="noStrike" kern="1200" cap="none" spc="0" normalizeH="0" baseline="0" noProof="0">
                <a:ln>
                  <a:noFill/>
                </a:ln>
                <a:solidFill>
                  <a:srgbClr val="282828"/>
                </a:solidFill>
                <a:effectLst/>
                <a:uLnTx/>
                <a:uFillTx/>
                <a:latin typeface="Segoe UI"/>
                <a:ea typeface="Segoe UI" pitchFamily="34" charset="0"/>
                <a:cs typeface="Segoe UI" pitchFamily="34" charset="0"/>
              </a:rPr>
              <a:t>Learning recommendations</a:t>
            </a:r>
          </a:p>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800" b="0" i="0" u="none" strike="noStrike" kern="1200" cap="none" spc="0" normalizeH="0" baseline="0" noProof="0">
                <a:ln>
                  <a:noFill/>
                </a:ln>
                <a:solidFill>
                  <a:srgbClr val="282828"/>
                </a:solidFill>
                <a:effectLst/>
                <a:uLnTx/>
                <a:uFillTx/>
                <a:latin typeface="Segoe UI"/>
                <a:ea typeface="Segoe UI" pitchFamily="34" charset="0"/>
                <a:cs typeface="Segoe UI" pitchFamily="34" charset="0"/>
              </a:rPr>
              <a:t>Browse learning content</a:t>
            </a:r>
          </a:p>
        </p:txBody>
      </p:sp>
      <p:pic>
        <p:nvPicPr>
          <p:cNvPr id="4" name="Picture 4">
            <a:extLst>
              <a:ext uri="{FF2B5EF4-FFF2-40B4-BE49-F238E27FC236}">
                <a16:creationId xmlns:a16="http://schemas.microsoft.com/office/drawing/2014/main" id="{83E2D344-9FA6-5A0A-5DB3-458BBBC00A15}"/>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t="28198" b="27900"/>
          <a:stretch/>
        </p:blipFill>
        <p:spPr bwMode="auto">
          <a:xfrm>
            <a:off x="9192316" y="5112145"/>
            <a:ext cx="2158925" cy="391584"/>
          </a:xfrm>
          <a:prstGeom prst="rect">
            <a:avLst/>
          </a:prstGeom>
          <a:noFill/>
          <a:extLst>
            <a:ext uri="{909E8E84-426E-40DD-AFC4-6F175D3DCCD1}">
              <a14:hiddenFill xmlns:a14="http://schemas.microsoft.com/office/drawing/2010/main">
                <a:solidFill>
                  <a:srgbClr val="FFFFFF"/>
                </a:solidFill>
              </a14:hiddenFill>
            </a:ext>
          </a:extLst>
        </p:spPr>
      </p:pic>
      <p:sp>
        <p:nvSpPr>
          <p:cNvPr id="22" name="Title 1">
            <a:extLst>
              <a:ext uri="{FF2B5EF4-FFF2-40B4-BE49-F238E27FC236}">
                <a16:creationId xmlns:a16="http://schemas.microsoft.com/office/drawing/2014/main" id="{DB222B2F-217A-04A8-1908-A6A82E3DBB39}"/>
              </a:ext>
            </a:extLst>
          </p:cNvPr>
          <p:cNvSpPr>
            <a:spLocks noGrp="1"/>
          </p:cNvSpPr>
          <p:nvPr>
            <p:ph type="title"/>
          </p:nvPr>
        </p:nvSpPr>
        <p:spPr>
          <a:xfrm>
            <a:off x="426424" y="435824"/>
            <a:ext cx="11336039" cy="415498"/>
          </a:xfrm>
        </p:spPr>
        <p:txBody>
          <a:bodyPr lIns="0" tIns="0" rIns="0" bIns="0">
            <a:noAutofit/>
          </a:bodyPr>
          <a:lstStyle/>
          <a:p>
            <a:pPr algn="ctr"/>
            <a:r>
              <a:rPr lang="en-US"/>
              <a:t>A new way of learning</a:t>
            </a:r>
          </a:p>
        </p:txBody>
      </p:sp>
      <p:sp>
        <p:nvSpPr>
          <p:cNvPr id="24" name="Rectangle 23">
            <a:extLst>
              <a:ext uri="{FF2B5EF4-FFF2-40B4-BE49-F238E27FC236}">
                <a16:creationId xmlns:a16="http://schemas.microsoft.com/office/drawing/2014/main" id="{27AC60EF-1A4E-6747-21AA-DD0304554446}"/>
              </a:ext>
            </a:extLst>
          </p:cNvPr>
          <p:cNvSpPr/>
          <p:nvPr/>
        </p:nvSpPr>
        <p:spPr bwMode="auto">
          <a:xfrm>
            <a:off x="0" y="1379861"/>
            <a:ext cx="12192000" cy="41148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Times New Roman" panose="02020603050405020304" pitchFamily="18" charset="0"/>
                <a:cs typeface="Times New Roman" panose="02020603050405020304" pitchFamily="18" charset="0"/>
              </a:rPr>
              <a:t>Integrated learning experience across work surfaces</a:t>
            </a:r>
          </a:p>
        </p:txBody>
      </p:sp>
    </p:spTree>
    <p:extLst>
      <p:ext uri="{BB962C8B-B14F-4D97-AF65-F5344CB8AC3E}">
        <p14:creationId xmlns:p14="http://schemas.microsoft.com/office/powerpoint/2010/main" val="26917898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9536" fill="hold"/>
                                        <p:tgtEl>
                                          <p:spTgt spid="2"/>
                                        </p:tgtEl>
                                      </p:cBhvr>
                                    </p:cmd>
                                  </p:childTnLst>
                                </p:cTn>
                              </p:par>
                              <p:par>
                                <p:cTn id="7" presetID="2" presetClass="entr" presetSubtype="8" fill="hold" grpId="0" nodeType="withEffect">
                                  <p:stCondLst>
                                    <p:cond delay="0"/>
                                  </p:stCondLst>
                                  <p:childTnLst>
                                    <p:set>
                                      <p:cBhvr>
                                        <p:cTn id="8" dur="1" fill="hold">
                                          <p:stCondLst>
                                            <p:cond delay="0"/>
                                          </p:stCondLst>
                                        </p:cTn>
                                        <p:tgtEl>
                                          <p:spTgt spid="24"/>
                                        </p:tgtEl>
                                        <p:attrNameLst>
                                          <p:attrName>style.visibility</p:attrName>
                                        </p:attrNameLst>
                                      </p:cBhvr>
                                      <p:to>
                                        <p:strVal val="visible"/>
                                      </p:to>
                                    </p:set>
                                    <p:anim calcmode="lin" valueType="num">
                                      <p:cBhvr additive="base">
                                        <p:cTn id="9" dur="1000" fill="hold"/>
                                        <p:tgtEl>
                                          <p:spTgt spid="24"/>
                                        </p:tgtEl>
                                        <p:attrNameLst>
                                          <p:attrName>ppt_x</p:attrName>
                                        </p:attrNameLst>
                                      </p:cBhvr>
                                      <p:tavLst>
                                        <p:tav tm="0">
                                          <p:val>
                                            <p:strVal val="0-#ppt_w/2"/>
                                          </p:val>
                                        </p:tav>
                                        <p:tav tm="100000">
                                          <p:val>
                                            <p:strVal val="#ppt_x"/>
                                          </p:val>
                                        </p:tav>
                                      </p:tavLst>
                                    </p:anim>
                                    <p:anim calcmode="lin" valueType="num">
                                      <p:cBhvr additive="base">
                                        <p:cTn id="10" dur="1000" fill="hold"/>
                                        <p:tgtEl>
                                          <p:spTgt spid="2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video>
              <p:cMediaNode vol="80000">
                <p:cTn id="11" repeatCount="indefinite" fill="hold" display="0">
                  <p:stCondLst>
                    <p:cond delay="indefinite"/>
                  </p:stCondLst>
                </p:cTn>
                <p:tgtEl>
                  <p:spTgt spid="2"/>
                </p:tgtEl>
              </p:cMediaNode>
            </p:video>
            <p:seq concurrent="1" nextAc="seek">
              <p:cTn id="12" restart="whenNotActive" fill="hold" evtFilter="cancelBubble" nodeType="interactiveSeq">
                <p:stCondLst>
                  <p:cond evt="onClick" delay="0">
                    <p:tgtEl>
                      <p:spTgt spid="2"/>
                    </p:tgtEl>
                  </p:cond>
                </p:stCondLst>
                <p:endSync evt="end" delay="0">
                  <p:rtn val="all"/>
                </p:endSync>
                <p:childTnLst>
                  <p:par>
                    <p:cTn id="13" fill="hold">
                      <p:stCondLst>
                        <p:cond delay="0"/>
                      </p:stCondLst>
                      <p:childTnLst>
                        <p:par>
                          <p:cTn id="14" fill="hold">
                            <p:stCondLst>
                              <p:cond delay="0"/>
                            </p:stCondLst>
                            <p:childTnLst>
                              <p:par>
                                <p:cTn id="15" presetID="2" presetClass="mediacall" presetSubtype="0" fill="hold" nodeType="clickEffect">
                                  <p:stCondLst>
                                    <p:cond delay="0"/>
                                  </p:stCondLst>
                                  <p:childTnLst>
                                    <p:cmd type="call" cmd="togglePause">
                                      <p:cBhvr>
                                        <p:cTn id="16" dur="1" fill="hold"/>
                                        <p:tgtEl>
                                          <p:spTgt spid="2"/>
                                        </p:tgtEl>
                                      </p:cBhvr>
                                    </p:cmd>
                                  </p:childTnLst>
                                </p:cTn>
                              </p:par>
                            </p:childTnLst>
                          </p:cTn>
                        </p:par>
                      </p:childTnLst>
                    </p:cTn>
                  </p:par>
                </p:childTnLst>
              </p:cTn>
              <p:nextCondLst>
                <p:cond evt="onClick" delay="0">
                  <p:tgtEl>
                    <p:spTgt spid="2"/>
                  </p:tgtEl>
                </p:cond>
              </p:nextCondLst>
            </p:seq>
          </p:childTnLst>
        </p:cTn>
      </p:par>
    </p:tnLst>
    <p:bldLst>
      <p:bldP spid="24"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Rectangle 98">
            <a:extLst>
              <a:ext uri="{FF2B5EF4-FFF2-40B4-BE49-F238E27FC236}">
                <a16:creationId xmlns:a16="http://schemas.microsoft.com/office/drawing/2014/main" id="{A9729AAD-4FBE-4702-9B0B-3B7499311751}"/>
              </a:ext>
            </a:extLst>
          </p:cNvPr>
          <p:cNvSpPr>
            <a:spLocks/>
          </p:cNvSpPr>
          <p:nvPr/>
        </p:nvSpPr>
        <p:spPr bwMode="auto">
          <a:xfrm>
            <a:off x="291087" y="4254957"/>
            <a:ext cx="11175201" cy="1234140"/>
          </a:xfrm>
          <a:prstGeom prst="rect">
            <a:avLst/>
          </a:prstGeom>
          <a:solidFill>
            <a:schemeClr val="bg1">
              <a:lumMod val="95000"/>
              <a:alpha val="3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endParaRPr kumimoji="0" lang="en-IN" sz="1800" b="1" i="0" u="none" strike="noStrike" kern="1200" cap="none" spc="0" normalizeH="0" baseline="0" noProof="0">
              <a:ln>
                <a:noFill/>
              </a:ln>
              <a:solidFill>
                <a:srgbClr val="282828"/>
              </a:solidFill>
              <a:effectLst/>
              <a:uLnTx/>
              <a:uFillTx/>
              <a:latin typeface="Segoe UI" panose="020B0502040204020203" pitchFamily="34" charset="0"/>
              <a:ea typeface="Times New Roman" panose="02020603050405020304" pitchFamily="18" charset="0"/>
              <a:cs typeface="Times New Roman" panose="02020603050405020304" pitchFamily="18" charset="0"/>
            </a:endParaRPr>
          </a:p>
        </p:txBody>
      </p:sp>
      <p:sp>
        <p:nvSpPr>
          <p:cNvPr id="98" name="Rectangle 97">
            <a:extLst>
              <a:ext uri="{FF2B5EF4-FFF2-40B4-BE49-F238E27FC236}">
                <a16:creationId xmlns:a16="http://schemas.microsoft.com/office/drawing/2014/main" id="{3D894A04-F84C-408B-931B-A7D229391154}"/>
              </a:ext>
            </a:extLst>
          </p:cNvPr>
          <p:cNvSpPr>
            <a:spLocks/>
          </p:cNvSpPr>
          <p:nvPr/>
        </p:nvSpPr>
        <p:spPr bwMode="auto">
          <a:xfrm>
            <a:off x="291087" y="2699658"/>
            <a:ext cx="11175201" cy="1460048"/>
          </a:xfrm>
          <a:prstGeom prst="rect">
            <a:avLst/>
          </a:prstGeom>
          <a:solidFill>
            <a:schemeClr val="bg1">
              <a:lumMod val="95000"/>
              <a:alpha val="3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endParaRPr kumimoji="0" lang="en-IN" sz="1800" b="1" i="0" u="none" strike="noStrike" kern="1200" cap="none" spc="0" normalizeH="0" baseline="0" noProof="0">
              <a:ln>
                <a:noFill/>
              </a:ln>
              <a:solidFill>
                <a:srgbClr val="282828"/>
              </a:solidFill>
              <a:effectLst/>
              <a:uLnTx/>
              <a:uFillTx/>
              <a:latin typeface="Segoe UI" panose="020B0502040204020203" pitchFamily="34" charset="0"/>
              <a:ea typeface="Times New Roman" panose="02020603050405020304" pitchFamily="18" charset="0"/>
              <a:cs typeface="Times New Roman" panose="02020603050405020304" pitchFamily="18" charset="0"/>
            </a:endParaRPr>
          </a:p>
        </p:txBody>
      </p:sp>
      <p:sp>
        <p:nvSpPr>
          <p:cNvPr id="100" name="Rectangle 99">
            <a:extLst>
              <a:ext uri="{FF2B5EF4-FFF2-40B4-BE49-F238E27FC236}">
                <a16:creationId xmlns:a16="http://schemas.microsoft.com/office/drawing/2014/main" id="{06F2BC87-FD14-49D6-82A1-CA66BEA2545A}"/>
              </a:ext>
            </a:extLst>
          </p:cNvPr>
          <p:cNvSpPr>
            <a:spLocks/>
          </p:cNvSpPr>
          <p:nvPr/>
        </p:nvSpPr>
        <p:spPr bwMode="auto">
          <a:xfrm>
            <a:off x="291087" y="5584347"/>
            <a:ext cx="11175200" cy="1084967"/>
          </a:xfrm>
          <a:prstGeom prst="rect">
            <a:avLst/>
          </a:prstGeom>
          <a:solidFill>
            <a:schemeClr val="bg1">
              <a:lumMod val="95000"/>
              <a:alpha val="3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endParaRPr kumimoji="0" lang="en-IN" sz="1800" b="1" i="0" u="none" strike="noStrike" kern="1200" cap="none" spc="0" normalizeH="0" baseline="0" noProof="0">
              <a:ln>
                <a:noFill/>
              </a:ln>
              <a:solidFill>
                <a:srgbClr val="282828"/>
              </a:solidFill>
              <a:effectLst/>
              <a:uLnTx/>
              <a:uFillTx/>
              <a:latin typeface="Segoe UI" panose="020B0502040204020203" pitchFamily="34" charset="0"/>
              <a:ea typeface="Times New Roman" panose="02020603050405020304" pitchFamily="18" charset="0"/>
              <a:cs typeface="Times New Roman" panose="02020603050405020304" pitchFamily="18" charset="0"/>
            </a:endParaRPr>
          </a:p>
        </p:txBody>
      </p:sp>
      <p:sp>
        <p:nvSpPr>
          <p:cNvPr id="102" name="Freeform: Shape 101">
            <a:extLst>
              <a:ext uri="{FF2B5EF4-FFF2-40B4-BE49-F238E27FC236}">
                <a16:creationId xmlns:a16="http://schemas.microsoft.com/office/drawing/2014/main" id="{A9195439-39AD-4FB1-8038-9AE45A44105E}"/>
              </a:ext>
            </a:extLst>
          </p:cNvPr>
          <p:cNvSpPr>
            <a:spLocks/>
          </p:cNvSpPr>
          <p:nvPr/>
        </p:nvSpPr>
        <p:spPr bwMode="auto">
          <a:xfrm>
            <a:off x="1" y="2699658"/>
            <a:ext cx="1481294" cy="1460049"/>
          </a:xfrm>
          <a:custGeom>
            <a:avLst/>
            <a:gdLst>
              <a:gd name="connsiteX0" fmla="*/ 0 w 1481294"/>
              <a:gd name="connsiteY0" fmla="*/ 0 h 1460049"/>
              <a:gd name="connsiteX1" fmla="*/ 777710 w 1481294"/>
              <a:gd name="connsiteY1" fmla="*/ 0 h 1460049"/>
              <a:gd name="connsiteX2" fmla="*/ 1481294 w 1481294"/>
              <a:gd name="connsiteY2" fmla="*/ 1460049 h 1460049"/>
              <a:gd name="connsiteX3" fmla="*/ 426423 w 1481294"/>
              <a:gd name="connsiteY3" fmla="*/ 1460049 h 1460049"/>
              <a:gd name="connsiteX4" fmla="*/ 426423 w 1481294"/>
              <a:gd name="connsiteY4" fmla="*/ 1460048 h 1460049"/>
              <a:gd name="connsiteX5" fmla="*/ 0 w 1481294"/>
              <a:gd name="connsiteY5" fmla="*/ 1460048 h 146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81294" h="1460049">
                <a:moveTo>
                  <a:pt x="0" y="0"/>
                </a:moveTo>
                <a:lnTo>
                  <a:pt x="777710" y="0"/>
                </a:lnTo>
                <a:lnTo>
                  <a:pt x="1481294" y="1460049"/>
                </a:lnTo>
                <a:lnTo>
                  <a:pt x="426423" y="1460049"/>
                </a:lnTo>
                <a:lnTo>
                  <a:pt x="426423" y="1460048"/>
                </a:lnTo>
                <a:lnTo>
                  <a:pt x="0" y="1460048"/>
                </a:lnTo>
                <a:close/>
              </a:path>
            </a:pathLst>
          </a:cu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endParaRPr kumimoji="0" lang="en-IN" sz="1800" b="1" i="0" u="none" strike="noStrike" kern="1200" cap="none" spc="0" normalizeH="0" baseline="0" noProof="0">
              <a:ln>
                <a:noFill/>
              </a:ln>
              <a:solidFill>
                <a:srgbClr val="282828"/>
              </a:solidFill>
              <a:effectLst/>
              <a:uLnTx/>
              <a:uFillTx/>
              <a:latin typeface="Segoe UI" panose="020B0502040204020203" pitchFamily="34" charset="0"/>
              <a:ea typeface="Times New Roman" panose="02020603050405020304" pitchFamily="18" charset="0"/>
              <a:cs typeface="Times New Roman" panose="02020603050405020304" pitchFamily="18" charset="0"/>
            </a:endParaRPr>
          </a:p>
        </p:txBody>
      </p:sp>
      <p:sp>
        <p:nvSpPr>
          <p:cNvPr id="96" name="Freeform: Shape 95">
            <a:extLst>
              <a:ext uri="{FF2B5EF4-FFF2-40B4-BE49-F238E27FC236}">
                <a16:creationId xmlns:a16="http://schemas.microsoft.com/office/drawing/2014/main" id="{0D623FB2-8F86-4DD5-AE00-93A8F4E83154}"/>
              </a:ext>
            </a:extLst>
          </p:cNvPr>
          <p:cNvSpPr/>
          <p:nvPr/>
        </p:nvSpPr>
        <p:spPr bwMode="auto">
          <a:xfrm>
            <a:off x="1" y="4254957"/>
            <a:ext cx="2121916" cy="1234140"/>
          </a:xfrm>
          <a:custGeom>
            <a:avLst/>
            <a:gdLst>
              <a:gd name="connsiteX0" fmla="*/ 0 w 2121916"/>
              <a:gd name="connsiteY0" fmla="*/ 0 h 1234140"/>
              <a:gd name="connsiteX1" fmla="*/ 426423 w 2121916"/>
              <a:gd name="connsiteY1" fmla="*/ 0 h 1234140"/>
              <a:gd name="connsiteX2" fmla="*/ 1203158 w 2121916"/>
              <a:gd name="connsiteY2" fmla="*/ 0 h 1234140"/>
              <a:gd name="connsiteX3" fmla="*/ 1527195 w 2121916"/>
              <a:gd name="connsiteY3" fmla="*/ 0 h 1234140"/>
              <a:gd name="connsiteX4" fmla="*/ 2121916 w 2121916"/>
              <a:gd name="connsiteY4" fmla="*/ 1234140 h 1234140"/>
              <a:gd name="connsiteX5" fmla="*/ 1203158 w 2121916"/>
              <a:gd name="connsiteY5" fmla="*/ 1234140 h 1234140"/>
              <a:gd name="connsiteX6" fmla="*/ 426423 w 2121916"/>
              <a:gd name="connsiteY6" fmla="*/ 1234140 h 1234140"/>
              <a:gd name="connsiteX7" fmla="*/ 0 w 2121916"/>
              <a:gd name="connsiteY7" fmla="*/ 1234140 h 1234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21916" h="1234140">
                <a:moveTo>
                  <a:pt x="0" y="0"/>
                </a:moveTo>
                <a:lnTo>
                  <a:pt x="426423" y="0"/>
                </a:lnTo>
                <a:lnTo>
                  <a:pt x="1203158" y="0"/>
                </a:lnTo>
                <a:lnTo>
                  <a:pt x="1527195" y="0"/>
                </a:lnTo>
                <a:lnTo>
                  <a:pt x="2121916" y="1234140"/>
                </a:lnTo>
                <a:lnTo>
                  <a:pt x="1203158" y="1234140"/>
                </a:lnTo>
                <a:lnTo>
                  <a:pt x="426423" y="1234140"/>
                </a:lnTo>
                <a:lnTo>
                  <a:pt x="0" y="123414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endParaRPr kumimoji="0" lang="en-IN" sz="1800" b="1" i="0" u="none" strike="noStrike" kern="1200" cap="none" spc="0" normalizeH="0" baseline="0" noProof="0">
              <a:ln>
                <a:noFill/>
              </a:ln>
              <a:solidFill>
                <a:srgbClr val="282828"/>
              </a:solidFill>
              <a:effectLst/>
              <a:uLnTx/>
              <a:uFillTx/>
              <a:latin typeface="Segoe UI" panose="020B0502040204020203" pitchFamily="34" charset="0"/>
              <a:ea typeface="Times New Roman" panose="02020603050405020304" pitchFamily="18" charset="0"/>
              <a:cs typeface="Times New Roman" panose="02020603050405020304" pitchFamily="18" charset="0"/>
            </a:endParaRPr>
          </a:p>
        </p:txBody>
      </p:sp>
      <p:sp>
        <p:nvSpPr>
          <p:cNvPr id="97" name="Freeform: Shape 96">
            <a:extLst>
              <a:ext uri="{FF2B5EF4-FFF2-40B4-BE49-F238E27FC236}">
                <a16:creationId xmlns:a16="http://schemas.microsoft.com/office/drawing/2014/main" id="{B4D0B955-6777-4CE6-A94D-45F810B2FC2F}"/>
              </a:ext>
            </a:extLst>
          </p:cNvPr>
          <p:cNvSpPr/>
          <p:nvPr/>
        </p:nvSpPr>
        <p:spPr bwMode="auto">
          <a:xfrm>
            <a:off x="0" y="5584347"/>
            <a:ext cx="2690653" cy="1084967"/>
          </a:xfrm>
          <a:custGeom>
            <a:avLst/>
            <a:gdLst>
              <a:gd name="connsiteX0" fmla="*/ 0 w 2690653"/>
              <a:gd name="connsiteY0" fmla="*/ 0 h 1084967"/>
              <a:gd name="connsiteX1" fmla="*/ 426424 w 2690653"/>
              <a:gd name="connsiteY1" fmla="*/ 0 h 1084967"/>
              <a:gd name="connsiteX2" fmla="*/ 1624263 w 2690653"/>
              <a:gd name="connsiteY2" fmla="*/ 0 h 1084967"/>
              <a:gd name="connsiteX3" fmla="*/ 2167817 w 2690653"/>
              <a:gd name="connsiteY3" fmla="*/ 0 h 1084967"/>
              <a:gd name="connsiteX4" fmla="*/ 2690653 w 2690653"/>
              <a:gd name="connsiteY4" fmla="*/ 1084967 h 1084967"/>
              <a:gd name="connsiteX5" fmla="*/ 1624263 w 2690653"/>
              <a:gd name="connsiteY5" fmla="*/ 1084967 h 1084967"/>
              <a:gd name="connsiteX6" fmla="*/ 426424 w 2690653"/>
              <a:gd name="connsiteY6" fmla="*/ 1084967 h 1084967"/>
              <a:gd name="connsiteX7" fmla="*/ 0 w 2690653"/>
              <a:gd name="connsiteY7" fmla="*/ 1084967 h 1084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0653" h="1084967">
                <a:moveTo>
                  <a:pt x="0" y="0"/>
                </a:moveTo>
                <a:lnTo>
                  <a:pt x="426424" y="0"/>
                </a:lnTo>
                <a:lnTo>
                  <a:pt x="1624263" y="0"/>
                </a:lnTo>
                <a:lnTo>
                  <a:pt x="2167817" y="0"/>
                </a:lnTo>
                <a:lnTo>
                  <a:pt x="2690653" y="1084967"/>
                </a:lnTo>
                <a:lnTo>
                  <a:pt x="1624263" y="1084967"/>
                </a:lnTo>
                <a:lnTo>
                  <a:pt x="426424" y="1084967"/>
                </a:lnTo>
                <a:lnTo>
                  <a:pt x="0" y="1084967"/>
                </a:ln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endParaRPr kumimoji="0" lang="en-IN" sz="1800" b="1" i="0" u="none" strike="noStrike" kern="1200" cap="none" spc="0" normalizeH="0" baseline="0" noProof="0">
              <a:ln>
                <a:noFill/>
              </a:ln>
              <a:solidFill>
                <a:srgbClr val="282828"/>
              </a:solidFill>
              <a:effectLst/>
              <a:uLnTx/>
              <a:uFillTx/>
              <a:latin typeface="Segoe UI" panose="020B0502040204020203" pitchFamily="34" charset="0"/>
              <a:ea typeface="Times New Roman" panose="02020603050405020304" pitchFamily="18" charset="0"/>
              <a:cs typeface="Times New Roman" panose="02020603050405020304" pitchFamily="18" charset="0"/>
            </a:endParaRPr>
          </a:p>
        </p:txBody>
      </p:sp>
      <p:sp>
        <p:nvSpPr>
          <p:cNvPr id="2" name="Title 1">
            <a:extLst>
              <a:ext uri="{FF2B5EF4-FFF2-40B4-BE49-F238E27FC236}">
                <a16:creationId xmlns:a16="http://schemas.microsoft.com/office/drawing/2014/main" id="{E2AAC4D9-7A9D-4BE8-AA9D-BEC541BBC583}"/>
              </a:ext>
            </a:extLst>
          </p:cNvPr>
          <p:cNvSpPr>
            <a:spLocks noGrp="1"/>
          </p:cNvSpPr>
          <p:nvPr>
            <p:ph type="title"/>
          </p:nvPr>
        </p:nvSpPr>
        <p:spPr>
          <a:xfrm>
            <a:off x="426424" y="435824"/>
            <a:ext cx="11336039" cy="744014"/>
          </a:xfrm>
        </p:spPr>
        <p:txBody>
          <a:bodyPr/>
          <a:lstStyle/>
          <a:p>
            <a:r>
              <a:rPr lang="en-US"/>
              <a:t>Viva Learning</a:t>
            </a:r>
          </a:p>
        </p:txBody>
      </p:sp>
      <p:grpSp>
        <p:nvGrpSpPr>
          <p:cNvPr id="7" name="Group 6">
            <a:extLst>
              <a:ext uri="{FF2B5EF4-FFF2-40B4-BE49-F238E27FC236}">
                <a16:creationId xmlns:a16="http://schemas.microsoft.com/office/drawing/2014/main" id="{D24174A7-DC5F-4523-9E02-F814BC6781D4}"/>
              </a:ext>
            </a:extLst>
          </p:cNvPr>
          <p:cNvGrpSpPr/>
          <p:nvPr/>
        </p:nvGrpSpPr>
        <p:grpSpPr>
          <a:xfrm>
            <a:off x="5806184" y="1944914"/>
            <a:ext cx="666720" cy="666862"/>
            <a:chOff x="4776716" y="2660719"/>
            <a:chExt cx="1737097" cy="1737469"/>
          </a:xfrm>
        </p:grpSpPr>
        <p:sp>
          <p:nvSpPr>
            <p:cNvPr id="6" name="Oval 5">
              <a:extLst>
                <a:ext uri="{FF2B5EF4-FFF2-40B4-BE49-F238E27FC236}">
                  <a16:creationId xmlns:a16="http://schemas.microsoft.com/office/drawing/2014/main" id="{E01CB4D2-7983-48FF-A33A-9F1B93C4313B}"/>
                </a:ext>
              </a:extLst>
            </p:cNvPr>
            <p:cNvSpPr/>
            <p:nvPr/>
          </p:nvSpPr>
          <p:spPr bwMode="auto">
            <a:xfrm>
              <a:off x="4776716" y="2660719"/>
              <a:ext cx="1737097" cy="1737469"/>
            </a:xfrm>
            <a:prstGeom prst="ellipse">
              <a:avLst/>
            </a:prstGeom>
            <a:solidFill>
              <a:schemeClr val="bg1"/>
            </a:solidFill>
            <a:ln w="28575">
              <a:solidFill>
                <a:srgbClr val="00857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45" name="Graphic 44">
              <a:extLst>
                <a:ext uri="{FF2B5EF4-FFF2-40B4-BE49-F238E27FC236}">
                  <a16:creationId xmlns:a16="http://schemas.microsoft.com/office/drawing/2014/main" id="{16537677-9C76-4A2C-A058-6CFE825AC558}"/>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903730" y="2917292"/>
              <a:ext cx="1483069" cy="1224323"/>
            </a:xfrm>
            <a:prstGeom prst="rect">
              <a:avLst/>
            </a:prstGeom>
          </p:spPr>
        </p:pic>
      </p:grpSp>
      <p:sp>
        <p:nvSpPr>
          <p:cNvPr id="8" name="Rectangle 7">
            <a:extLst>
              <a:ext uri="{FF2B5EF4-FFF2-40B4-BE49-F238E27FC236}">
                <a16:creationId xmlns:a16="http://schemas.microsoft.com/office/drawing/2014/main" id="{62974F71-5347-423F-8A30-DD3800B51952}"/>
              </a:ext>
            </a:extLst>
          </p:cNvPr>
          <p:cNvSpPr/>
          <p:nvPr/>
        </p:nvSpPr>
        <p:spPr bwMode="auto">
          <a:xfrm>
            <a:off x="302301" y="1057914"/>
            <a:ext cx="3427870" cy="784830"/>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800" b="0" i="0" u="none" strike="noStrike" kern="1200" cap="none" spc="0" normalizeH="0" baseline="0" noProof="0">
                <a:ln>
                  <a:noFill/>
                </a:ln>
                <a:solidFill>
                  <a:srgbClr val="107C10"/>
                </a:solidFill>
                <a:effectLst/>
                <a:uLnTx/>
                <a:uFillTx/>
                <a:latin typeface="Segoe UI Semibold" panose="020B0702040204020203" pitchFamily="34" charset="0"/>
                <a:ea typeface="Segoe UI" pitchFamily="34" charset="0"/>
                <a:cs typeface="Segoe UI Semibold" panose="020B0702040204020203" pitchFamily="34" charset="0"/>
              </a:rPr>
              <a:t>Learning in the Flow of Work</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E6E6E6">
                    <a:lumMod val="25000"/>
                  </a:srgbClr>
                </a:solidFill>
                <a:effectLst/>
                <a:uLnTx/>
                <a:uFillTx/>
                <a:latin typeface="Segoe UI"/>
                <a:ea typeface="Segoe UI" pitchFamily="34" charset="0"/>
                <a:cs typeface="Segoe UI" pitchFamily="34" charset="0"/>
              </a:rPr>
              <a:t>Bring learning to the tools and platforms where users already spend their time</a:t>
            </a:r>
          </a:p>
        </p:txBody>
      </p:sp>
      <p:sp>
        <p:nvSpPr>
          <p:cNvPr id="10" name="Rectangle 9">
            <a:extLst>
              <a:ext uri="{FF2B5EF4-FFF2-40B4-BE49-F238E27FC236}">
                <a16:creationId xmlns:a16="http://schemas.microsoft.com/office/drawing/2014/main" id="{C4460311-F77A-4259-9DBA-B589D2B1AF26}"/>
              </a:ext>
            </a:extLst>
          </p:cNvPr>
          <p:cNvSpPr/>
          <p:nvPr/>
        </p:nvSpPr>
        <p:spPr bwMode="auto">
          <a:xfrm>
            <a:off x="4418805" y="1057914"/>
            <a:ext cx="3236956" cy="784830"/>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800" b="0" i="0" u="none" strike="noStrike" kern="1200" cap="none" spc="0" normalizeH="0" baseline="0" noProof="0">
                <a:ln>
                  <a:noFill/>
                </a:ln>
                <a:solidFill>
                  <a:srgbClr val="107C10"/>
                </a:solidFill>
                <a:effectLst/>
                <a:uLnTx/>
                <a:uFillTx/>
                <a:latin typeface="Segoe UI Semibold" panose="020B0702040204020203" pitchFamily="34" charset="0"/>
                <a:ea typeface="Segoe UI" pitchFamily="34" charset="0"/>
                <a:cs typeface="Segoe UI Semibold" panose="020B0702040204020203" pitchFamily="34" charset="0"/>
              </a:rPr>
              <a:t>Simplified Learning</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E6E6E6">
                    <a:lumMod val="25000"/>
                  </a:srgbClr>
                </a:solidFill>
                <a:effectLst/>
                <a:uLnTx/>
                <a:uFillTx/>
                <a:latin typeface="Segoe UI"/>
                <a:ea typeface="Segoe UI" pitchFamily="34" charset="0"/>
                <a:cs typeface="Segoe UI" pitchFamily="34" charset="0"/>
              </a:rPr>
              <a:t>Aggregate learning content and tools from different sources in one central hub</a:t>
            </a:r>
          </a:p>
        </p:txBody>
      </p:sp>
      <p:sp>
        <p:nvSpPr>
          <p:cNvPr id="16" name="Rectangle 15">
            <a:extLst>
              <a:ext uri="{FF2B5EF4-FFF2-40B4-BE49-F238E27FC236}">
                <a16:creationId xmlns:a16="http://schemas.microsoft.com/office/drawing/2014/main" id="{FFCC390A-2FDC-4E5E-B56D-841644261FB5}"/>
              </a:ext>
            </a:extLst>
          </p:cNvPr>
          <p:cNvSpPr/>
          <p:nvPr/>
        </p:nvSpPr>
        <p:spPr bwMode="auto">
          <a:xfrm>
            <a:off x="8344394" y="1057914"/>
            <a:ext cx="3484750" cy="1000274"/>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800" b="0" i="0" u="none" strike="noStrike" kern="1200" cap="none" spc="0" normalizeH="0" baseline="0" noProof="0">
                <a:ln>
                  <a:noFill/>
                </a:ln>
                <a:solidFill>
                  <a:srgbClr val="107C10"/>
                </a:solidFill>
                <a:effectLst/>
                <a:uLnTx/>
                <a:uFillTx/>
                <a:latin typeface="Segoe UI Semibold" panose="020B0702040204020203" pitchFamily="34" charset="0"/>
                <a:ea typeface="Segoe UI" pitchFamily="34" charset="0"/>
                <a:cs typeface="Segoe UI Semibold" panose="020B0702040204020203" pitchFamily="34" charset="0"/>
              </a:rPr>
              <a:t>Personalized and Relevant</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E6E6E6">
                    <a:lumMod val="25000"/>
                  </a:srgbClr>
                </a:solidFill>
                <a:effectLst/>
                <a:uLnTx/>
                <a:uFillTx/>
                <a:latin typeface="Segoe UI"/>
                <a:ea typeface="Segoe UI" pitchFamily="34" charset="0"/>
                <a:cs typeface="Segoe UI" pitchFamily="34" charset="0"/>
              </a:rPr>
              <a:t>Find the right content and develop new capabilities with personalized recommendations and search</a:t>
            </a:r>
            <a:endParaRPr kumimoji="0" lang="en-US" sz="1200" b="0" i="0" u="none" strike="noStrike" kern="1200" cap="none" spc="0" normalizeH="0" baseline="0" noProof="0">
              <a:ln>
                <a:noFill/>
              </a:ln>
              <a:solidFill>
                <a:srgbClr val="E6E6E6">
                  <a:lumMod val="25000"/>
                </a:srgbClr>
              </a:solidFill>
              <a:effectLst/>
              <a:uLnTx/>
              <a:uFillTx/>
              <a:latin typeface="Segoe UI"/>
              <a:ea typeface="Segoe UI" pitchFamily="34" charset="0"/>
              <a:cs typeface="Segoe UI" pitchFamily="34" charset="0"/>
            </a:endParaRPr>
          </a:p>
        </p:txBody>
      </p:sp>
      <p:sp>
        <p:nvSpPr>
          <p:cNvPr id="54" name="Rectangle 53">
            <a:extLst>
              <a:ext uri="{FF2B5EF4-FFF2-40B4-BE49-F238E27FC236}">
                <a16:creationId xmlns:a16="http://schemas.microsoft.com/office/drawing/2014/main" id="{ECE2D4F7-7BAE-4863-86DB-7558FA9BFB84}"/>
              </a:ext>
            </a:extLst>
          </p:cNvPr>
          <p:cNvSpPr/>
          <p:nvPr/>
        </p:nvSpPr>
        <p:spPr bwMode="auto">
          <a:xfrm>
            <a:off x="4957119" y="3046491"/>
            <a:ext cx="2394886" cy="2769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Segoe UI" pitchFamily="34" charset="0"/>
              </a:rPr>
              <a:t>Teams + Microsoft 365</a:t>
            </a:r>
          </a:p>
        </p:txBody>
      </p:sp>
      <p:sp>
        <p:nvSpPr>
          <p:cNvPr id="58" name="Rectangle 57">
            <a:extLst>
              <a:ext uri="{FF2B5EF4-FFF2-40B4-BE49-F238E27FC236}">
                <a16:creationId xmlns:a16="http://schemas.microsoft.com/office/drawing/2014/main" id="{F80A5F51-A370-4413-AF2C-E3BE75089425}"/>
              </a:ext>
            </a:extLst>
          </p:cNvPr>
          <p:cNvSpPr/>
          <p:nvPr/>
        </p:nvSpPr>
        <p:spPr bwMode="auto">
          <a:xfrm>
            <a:off x="5215250" y="5957243"/>
            <a:ext cx="1708801" cy="2769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Segoe UI" pitchFamily="34" charset="0"/>
              </a:rPr>
              <a:t>Microsoft Graph</a:t>
            </a:r>
          </a:p>
        </p:txBody>
      </p:sp>
      <p:sp>
        <p:nvSpPr>
          <p:cNvPr id="59" name="Rectangle 58">
            <a:extLst>
              <a:ext uri="{FF2B5EF4-FFF2-40B4-BE49-F238E27FC236}">
                <a16:creationId xmlns:a16="http://schemas.microsoft.com/office/drawing/2014/main" id="{F048BF22-049F-4A2D-9C96-301050294CA1}"/>
              </a:ext>
            </a:extLst>
          </p:cNvPr>
          <p:cNvSpPr/>
          <p:nvPr/>
        </p:nvSpPr>
        <p:spPr bwMode="auto">
          <a:xfrm>
            <a:off x="4485296" y="4342412"/>
            <a:ext cx="3428246" cy="2769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Segoe UI" pitchFamily="34" charset="0"/>
              </a:rPr>
              <a:t>API enabled partner integrations</a:t>
            </a:r>
          </a:p>
        </p:txBody>
      </p:sp>
      <p:cxnSp>
        <p:nvCxnSpPr>
          <p:cNvPr id="39" name="Straight Connector 38">
            <a:extLst>
              <a:ext uri="{FF2B5EF4-FFF2-40B4-BE49-F238E27FC236}">
                <a16:creationId xmlns:a16="http://schemas.microsoft.com/office/drawing/2014/main" id="{000186D7-C305-4556-9A47-D133CEE34AB8}"/>
              </a:ext>
            </a:extLst>
          </p:cNvPr>
          <p:cNvCxnSpPr>
            <a:cxnSpLocks/>
          </p:cNvCxnSpPr>
          <p:nvPr/>
        </p:nvCxnSpPr>
        <p:spPr>
          <a:xfrm>
            <a:off x="8000078" y="1276082"/>
            <a:ext cx="0" cy="563938"/>
          </a:xfrm>
          <a:prstGeom prst="line">
            <a:avLst/>
          </a:prstGeom>
          <a:ln>
            <a:solidFill>
              <a:srgbClr val="6A6A6A"/>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2B286A79-A0C4-4A2E-8446-CEDADCE8C0B5}"/>
              </a:ext>
            </a:extLst>
          </p:cNvPr>
          <p:cNvCxnSpPr>
            <a:cxnSpLocks/>
          </p:cNvCxnSpPr>
          <p:nvPr/>
        </p:nvCxnSpPr>
        <p:spPr>
          <a:xfrm>
            <a:off x="4074488" y="1276082"/>
            <a:ext cx="0" cy="563938"/>
          </a:xfrm>
          <a:prstGeom prst="line">
            <a:avLst/>
          </a:prstGeom>
          <a:ln>
            <a:solidFill>
              <a:srgbClr val="6A6A6A"/>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65" name="Picture 24">
            <a:extLst>
              <a:ext uri="{FF2B5EF4-FFF2-40B4-BE49-F238E27FC236}">
                <a16:creationId xmlns:a16="http://schemas.microsoft.com/office/drawing/2014/main" id="{3476827E-DDB3-496B-AA3A-F4328C2C2572}"/>
              </a:ext>
              <a:ext uri="{C183D7F6-B498-43B3-948B-1728B52AA6E4}">
                <adec:decorative xmlns:adec="http://schemas.microsoft.com/office/drawing/2017/decorative" val="1"/>
              </a:ext>
            </a:extLst>
          </p:cNvPr>
          <p:cNvPicPr>
            <a:picLocks noChangeAspect="1" noChangeArrowheads="1"/>
          </p:cNvPicPr>
          <p:nvPr/>
        </p:nvPicPr>
        <p:blipFill rotWithShape="1">
          <a:blip r:embed="rId6" cstate="screen">
            <a:clrChange>
              <a:clrFrom>
                <a:srgbClr val="FFFFFF"/>
              </a:clrFrom>
              <a:clrTo>
                <a:srgbClr val="FFFFFF">
                  <a:alpha val="0"/>
                </a:srgbClr>
              </a:clrTo>
            </a:clrChange>
            <a:extLst>
              <a:ext uri="{28A0092B-C50C-407E-A947-70E740481C1C}">
                <a14:useLocalDpi xmlns:a14="http://schemas.microsoft.com/office/drawing/2010/main"/>
              </a:ext>
            </a:extLst>
          </a:blip>
          <a:srcRect b="12828"/>
          <a:stretch/>
        </p:blipFill>
        <p:spPr bwMode="auto">
          <a:xfrm>
            <a:off x="7745821" y="4746303"/>
            <a:ext cx="577373" cy="179833"/>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Text&#10;&#10;Description automatically generated">
            <a:extLst>
              <a:ext uri="{FF2B5EF4-FFF2-40B4-BE49-F238E27FC236}">
                <a16:creationId xmlns:a16="http://schemas.microsoft.com/office/drawing/2014/main" id="{6273B82E-6F97-460C-BC22-C435E3BB6A18}"/>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8559509" y="4696994"/>
            <a:ext cx="668694" cy="222897"/>
          </a:xfrm>
          <a:prstGeom prst="rect">
            <a:avLst/>
          </a:prstGeom>
          <a:noFill/>
        </p:spPr>
      </p:pic>
      <p:sp>
        <p:nvSpPr>
          <p:cNvPr id="48" name="Rectangle 47">
            <a:extLst>
              <a:ext uri="{FF2B5EF4-FFF2-40B4-BE49-F238E27FC236}">
                <a16:creationId xmlns:a16="http://schemas.microsoft.com/office/drawing/2014/main" id="{D4EC4A30-42BE-4317-8471-046B469AE391}"/>
              </a:ext>
            </a:extLst>
          </p:cNvPr>
          <p:cNvSpPr/>
          <p:nvPr/>
        </p:nvSpPr>
        <p:spPr bwMode="auto">
          <a:xfrm>
            <a:off x="197824" y="6003720"/>
            <a:ext cx="1618944" cy="2462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Data layer</a:t>
            </a:r>
          </a:p>
        </p:txBody>
      </p:sp>
      <p:sp>
        <p:nvSpPr>
          <p:cNvPr id="51" name="Rectangle 50">
            <a:extLst>
              <a:ext uri="{FF2B5EF4-FFF2-40B4-BE49-F238E27FC236}">
                <a16:creationId xmlns:a16="http://schemas.microsoft.com/office/drawing/2014/main" id="{5148DBE3-F634-4457-8DEC-FEF123683252}"/>
              </a:ext>
            </a:extLst>
          </p:cNvPr>
          <p:cNvSpPr/>
          <p:nvPr/>
        </p:nvSpPr>
        <p:spPr bwMode="auto">
          <a:xfrm>
            <a:off x="197824" y="4625806"/>
            <a:ext cx="1221901" cy="49244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282828"/>
                </a:solidFill>
                <a:effectLst/>
                <a:uLnTx/>
                <a:uFillTx/>
                <a:latin typeface="Segoe UI Semibold"/>
                <a:ea typeface="Segoe UI" pitchFamily="34" charset="0"/>
                <a:cs typeface="Segoe UI" pitchFamily="34" charset="0"/>
              </a:rPr>
              <a:t>Aggregation layer</a:t>
            </a:r>
          </a:p>
        </p:txBody>
      </p:sp>
      <p:sp>
        <p:nvSpPr>
          <p:cNvPr id="53" name="Rectangle 52">
            <a:extLst>
              <a:ext uri="{FF2B5EF4-FFF2-40B4-BE49-F238E27FC236}">
                <a16:creationId xmlns:a16="http://schemas.microsoft.com/office/drawing/2014/main" id="{464BFAD0-2FBC-4D2A-8BCE-C160FDAE62B6}"/>
              </a:ext>
            </a:extLst>
          </p:cNvPr>
          <p:cNvSpPr/>
          <p:nvPr/>
        </p:nvSpPr>
        <p:spPr bwMode="auto">
          <a:xfrm>
            <a:off x="147485" y="3329242"/>
            <a:ext cx="1155032" cy="49244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282828"/>
                </a:solidFill>
                <a:effectLst/>
                <a:uLnTx/>
                <a:uFillTx/>
                <a:latin typeface="Segoe UI Semibold"/>
                <a:ea typeface="Segoe UI" pitchFamily="34" charset="0"/>
                <a:cs typeface="Segoe UI" pitchFamily="34" charset="0"/>
              </a:rPr>
              <a:t>Platform layer</a:t>
            </a:r>
          </a:p>
        </p:txBody>
      </p:sp>
      <p:pic>
        <p:nvPicPr>
          <p:cNvPr id="103" name="Picture 2" descr="Download Microsoft Teams Logo in SVG Vector or PNG File Format - Logo.wine">
            <a:extLst>
              <a:ext uri="{FF2B5EF4-FFF2-40B4-BE49-F238E27FC236}">
                <a16:creationId xmlns:a16="http://schemas.microsoft.com/office/drawing/2014/main" id="{49BFB7DB-1D2F-4C02-8DEB-F3F96E9E6F9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909347" y="3366356"/>
            <a:ext cx="847384" cy="564922"/>
          </a:xfrm>
          <a:prstGeom prst="rect">
            <a:avLst/>
          </a:prstGeom>
          <a:noFill/>
          <a:extLst>
            <a:ext uri="{909E8E84-426E-40DD-AFC4-6F175D3DCCD1}">
              <a14:hiddenFill xmlns:a14="http://schemas.microsoft.com/office/drawing/2010/main">
                <a:solidFill>
                  <a:srgbClr val="FFFFFF"/>
                </a:solidFill>
              </a14:hiddenFill>
            </a:ext>
          </a:extLst>
        </p:spPr>
      </p:pic>
      <p:pic>
        <p:nvPicPr>
          <p:cNvPr id="104" name="Picture 4">
            <a:extLst>
              <a:ext uri="{FF2B5EF4-FFF2-40B4-BE49-F238E27FC236}">
                <a16:creationId xmlns:a16="http://schemas.microsoft.com/office/drawing/2014/main" id="{864F33CE-C7AA-4701-8436-D612EBAB0A4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738052" y="3389613"/>
            <a:ext cx="1287434" cy="531899"/>
          </a:xfrm>
          <a:prstGeom prst="rect">
            <a:avLst/>
          </a:prstGeom>
          <a:noFill/>
          <a:extLst>
            <a:ext uri="{909E8E84-426E-40DD-AFC4-6F175D3DCCD1}">
              <a14:hiddenFill xmlns:a14="http://schemas.microsoft.com/office/drawing/2010/main">
                <a:solidFill>
                  <a:srgbClr val="FFFFFF"/>
                </a:solidFill>
              </a14:hiddenFill>
            </a:ext>
          </a:extLst>
        </p:spPr>
      </p:pic>
      <p:sp>
        <p:nvSpPr>
          <p:cNvPr id="105" name="Arrow: Bent 104">
            <a:extLst>
              <a:ext uri="{FF2B5EF4-FFF2-40B4-BE49-F238E27FC236}">
                <a16:creationId xmlns:a16="http://schemas.microsoft.com/office/drawing/2014/main" id="{16CC6B47-D5FC-41BA-B3C9-95B756DC6028}"/>
              </a:ext>
            </a:extLst>
          </p:cNvPr>
          <p:cNvSpPr/>
          <p:nvPr/>
        </p:nvSpPr>
        <p:spPr bwMode="auto">
          <a:xfrm>
            <a:off x="11829144" y="2699658"/>
            <a:ext cx="362855" cy="2777243"/>
          </a:xfrm>
          <a:prstGeom prst="bentArrow">
            <a:avLst>
              <a:gd name="adj1" fmla="val 25000"/>
              <a:gd name="adj2" fmla="val 0"/>
              <a:gd name="adj3" fmla="val 25000"/>
              <a:gd name="adj4" fmla="val 33856"/>
            </a:avLst>
          </a:prstGeom>
          <a:solidFill>
            <a:schemeClr val="bg1">
              <a:lumMod val="65000"/>
            </a:schemeClr>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endParaRPr kumimoji="0" lang="en-IN" sz="1800" b="1" i="0" u="none" strike="noStrike" kern="1200" cap="none" spc="0" normalizeH="0" baseline="0" noProof="0">
              <a:ln>
                <a:noFill/>
              </a:ln>
              <a:solidFill>
                <a:srgbClr val="282828"/>
              </a:solidFill>
              <a:effectLst/>
              <a:uLnTx/>
              <a:uFillTx/>
              <a:latin typeface="Segoe UI" panose="020B0502040204020203" pitchFamily="34" charset="0"/>
              <a:ea typeface="Times New Roman" panose="02020603050405020304" pitchFamily="18" charset="0"/>
              <a:cs typeface="Times New Roman" panose="02020603050405020304" pitchFamily="18" charset="0"/>
            </a:endParaRPr>
          </a:p>
        </p:txBody>
      </p:sp>
      <p:sp>
        <p:nvSpPr>
          <p:cNvPr id="106" name="Arrow: Bent 105">
            <a:extLst>
              <a:ext uri="{FF2B5EF4-FFF2-40B4-BE49-F238E27FC236}">
                <a16:creationId xmlns:a16="http://schemas.microsoft.com/office/drawing/2014/main" id="{AC2C7A39-05E6-4410-8336-744F61723BEE}"/>
              </a:ext>
            </a:extLst>
          </p:cNvPr>
          <p:cNvSpPr/>
          <p:nvPr/>
        </p:nvSpPr>
        <p:spPr bwMode="auto">
          <a:xfrm rot="10800000">
            <a:off x="0" y="3786717"/>
            <a:ext cx="11829144" cy="2936901"/>
          </a:xfrm>
          <a:prstGeom prst="bentArrow">
            <a:avLst>
              <a:gd name="adj1" fmla="val 25000"/>
              <a:gd name="adj2" fmla="val 0"/>
              <a:gd name="adj3" fmla="val 25000"/>
              <a:gd name="adj4" fmla="val 6537"/>
            </a:avLst>
          </a:prstGeom>
          <a:solidFill>
            <a:schemeClr val="bg1">
              <a:lumMod val="65000"/>
            </a:schemeClr>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endParaRPr kumimoji="0" lang="en-IN" sz="1800" b="1" i="0" u="none" strike="noStrike" kern="1200" cap="none" spc="0" normalizeH="0" baseline="0" noProof="0">
              <a:ln>
                <a:noFill/>
              </a:ln>
              <a:solidFill>
                <a:srgbClr val="282828"/>
              </a:solidFill>
              <a:effectLst/>
              <a:uLnTx/>
              <a:uFillTx/>
              <a:latin typeface="Segoe UI" panose="020B0502040204020203" pitchFamily="34" charset="0"/>
              <a:ea typeface="Times New Roman" panose="02020603050405020304" pitchFamily="18" charset="0"/>
              <a:cs typeface="Times New Roman" panose="02020603050405020304" pitchFamily="18" charset="0"/>
            </a:endParaRPr>
          </a:p>
        </p:txBody>
      </p:sp>
      <p:pic>
        <p:nvPicPr>
          <p:cNvPr id="114" name="Picture 34" descr="Login">
            <a:extLst>
              <a:ext uri="{FF2B5EF4-FFF2-40B4-BE49-F238E27FC236}">
                <a16:creationId xmlns:a16="http://schemas.microsoft.com/office/drawing/2014/main" id="{78DF7A31-2DF6-4CD5-977B-3B62EF382DC8}"/>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119316" y="5019369"/>
            <a:ext cx="617531" cy="283035"/>
          </a:xfrm>
          <a:prstGeom prst="rect">
            <a:avLst/>
          </a:prstGeom>
          <a:noFill/>
          <a:extLst>
            <a:ext uri="{909E8E84-426E-40DD-AFC4-6F175D3DCCD1}">
              <a14:hiddenFill xmlns:a14="http://schemas.microsoft.com/office/drawing/2010/main">
                <a:solidFill>
                  <a:srgbClr val="FFFFFF"/>
                </a:solidFill>
              </a14:hiddenFill>
            </a:ext>
          </a:extLst>
        </p:spPr>
      </p:pic>
      <p:pic>
        <p:nvPicPr>
          <p:cNvPr id="115" name="Picture 32" descr="Go1 Reveals New Brand Identity With New Features in Conjunction With  Five-Year Anniversary | Business Wire">
            <a:extLst>
              <a:ext uri="{FF2B5EF4-FFF2-40B4-BE49-F238E27FC236}">
                <a16:creationId xmlns:a16="http://schemas.microsoft.com/office/drawing/2014/main" id="{65A6659D-683A-41D4-BDF8-006D6B4A40C1}"/>
              </a:ext>
            </a:extLst>
          </p:cNvPr>
          <p:cNvPicPr>
            <a:picLocks noChangeAspect="1" noChangeArrowheads="1"/>
          </p:cNvPicPr>
          <p:nvPr/>
        </p:nvPicPr>
        <p:blipFill>
          <a:blip r:embed="rId11">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810744" y="5022056"/>
            <a:ext cx="579942" cy="303020"/>
          </a:xfrm>
          <a:prstGeom prst="rect">
            <a:avLst/>
          </a:prstGeom>
          <a:noFill/>
          <a:extLst>
            <a:ext uri="{909E8E84-426E-40DD-AFC4-6F175D3DCCD1}">
              <a14:hiddenFill xmlns:a14="http://schemas.microsoft.com/office/drawing/2010/main">
                <a:solidFill>
                  <a:srgbClr val="FFFFFF"/>
                </a:solidFill>
              </a14:hiddenFill>
            </a:ext>
          </a:extLst>
        </p:spPr>
      </p:pic>
      <p:pic>
        <p:nvPicPr>
          <p:cNvPr id="117" name="Picture 36" descr="Pluralsight | The tech workforce development company">
            <a:extLst>
              <a:ext uri="{FF2B5EF4-FFF2-40B4-BE49-F238E27FC236}">
                <a16:creationId xmlns:a16="http://schemas.microsoft.com/office/drawing/2014/main" id="{B23340C1-BBBD-40B2-AEF0-1E12FCD04551}"/>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363747" y="5076651"/>
            <a:ext cx="882515" cy="203658"/>
          </a:xfrm>
          <a:prstGeom prst="rect">
            <a:avLst/>
          </a:prstGeom>
          <a:noFill/>
          <a:extLst>
            <a:ext uri="{909E8E84-426E-40DD-AFC4-6F175D3DCCD1}">
              <a14:hiddenFill xmlns:a14="http://schemas.microsoft.com/office/drawing/2010/main">
                <a:solidFill>
                  <a:srgbClr val="FFFFFF"/>
                </a:solidFill>
              </a14:hiddenFill>
            </a:ext>
          </a:extLst>
        </p:spPr>
      </p:pic>
      <p:pic>
        <p:nvPicPr>
          <p:cNvPr id="118" name="Picture 28" descr="edX - Wikipedia">
            <a:extLst>
              <a:ext uri="{FF2B5EF4-FFF2-40B4-BE49-F238E27FC236}">
                <a16:creationId xmlns:a16="http://schemas.microsoft.com/office/drawing/2014/main" id="{28909ACA-FA14-415E-B0F8-7ADAA5ACF598}"/>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rot="10800000" flipH="1" flipV="1">
            <a:off x="4430076" y="5080962"/>
            <a:ext cx="336707" cy="189398"/>
          </a:xfrm>
          <a:prstGeom prst="rect">
            <a:avLst/>
          </a:prstGeom>
          <a:noFill/>
          <a:extLst>
            <a:ext uri="{909E8E84-426E-40DD-AFC4-6F175D3DCCD1}">
              <a14:hiddenFill xmlns:a14="http://schemas.microsoft.com/office/drawing/2010/main">
                <a:solidFill>
                  <a:srgbClr val="FFFFFF"/>
                </a:solidFill>
              </a14:hiddenFill>
            </a:ext>
          </a:extLst>
        </p:spPr>
      </p:pic>
      <p:pic>
        <p:nvPicPr>
          <p:cNvPr id="119" name="Picture 26" descr="Leadership Development | Corporate Learning | Harvard Business Publishing">
            <a:extLst>
              <a:ext uri="{FF2B5EF4-FFF2-40B4-BE49-F238E27FC236}">
                <a16:creationId xmlns:a16="http://schemas.microsoft.com/office/drawing/2014/main" id="{1E32727A-F168-465E-A6DA-9512FFEFC7DF}"/>
              </a:ext>
            </a:extLst>
          </p:cNvPr>
          <p:cNvPicPr>
            <a:picLocks noChangeAspect="1" noChangeArrowheads="1"/>
          </p:cNvPicPr>
          <p:nvPr/>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031068" y="5031310"/>
            <a:ext cx="852472" cy="314190"/>
          </a:xfrm>
          <a:prstGeom prst="rect">
            <a:avLst/>
          </a:prstGeom>
          <a:noFill/>
          <a:extLst>
            <a:ext uri="{909E8E84-426E-40DD-AFC4-6F175D3DCCD1}">
              <a14:hiddenFill xmlns:a14="http://schemas.microsoft.com/office/drawing/2010/main">
                <a:solidFill>
                  <a:srgbClr val="FFFFFF"/>
                </a:solidFill>
              </a14:hiddenFill>
            </a:ext>
          </a:extLst>
        </p:spPr>
      </p:pic>
      <p:pic>
        <p:nvPicPr>
          <p:cNvPr id="120" name="Picture 6" descr="SAP SuccessFactors Review | PCMag">
            <a:extLst>
              <a:ext uri="{FF2B5EF4-FFF2-40B4-BE49-F238E27FC236}">
                <a16:creationId xmlns:a16="http://schemas.microsoft.com/office/drawing/2014/main" id="{6D11199D-B0A4-42E2-A211-BE35E203077E}"/>
              </a:ext>
            </a:extLst>
          </p:cNvPr>
          <p:cNvPicPr>
            <a:picLocks noChangeAspect="1" noChangeArrowheads="1"/>
          </p:cNvPicPr>
          <p:nvPr/>
        </p:nvPicPr>
        <p:blipFill rotWithShape="1">
          <a:blip r:embed="rId15">
            <a:clrChange>
              <a:clrFrom>
                <a:srgbClr val="FFFFFF"/>
              </a:clrFrom>
              <a:clrTo>
                <a:srgbClr val="FFFFFF">
                  <a:alpha val="0"/>
                </a:srgbClr>
              </a:clrTo>
            </a:clrChange>
            <a:extLst>
              <a:ext uri="{28A0092B-C50C-407E-A947-70E740481C1C}">
                <a14:useLocalDpi xmlns:a14="http://schemas.microsoft.com/office/drawing/2010/main" val="0"/>
              </a:ext>
            </a:extLst>
          </a:blip>
          <a:srcRect t="31214" b="31214"/>
          <a:stretch/>
        </p:blipFill>
        <p:spPr bwMode="auto">
          <a:xfrm>
            <a:off x="2292184" y="4714835"/>
            <a:ext cx="1145970" cy="242548"/>
          </a:xfrm>
          <a:prstGeom prst="rect">
            <a:avLst/>
          </a:prstGeom>
          <a:noFill/>
          <a:extLst>
            <a:ext uri="{909E8E84-426E-40DD-AFC4-6F175D3DCCD1}">
              <a14:hiddenFill xmlns:a14="http://schemas.microsoft.com/office/drawing/2010/main">
                <a:solidFill>
                  <a:srgbClr val="FFFFFF"/>
                </a:solidFill>
              </a14:hiddenFill>
            </a:ext>
          </a:extLst>
        </p:spPr>
      </p:pic>
      <p:pic>
        <p:nvPicPr>
          <p:cNvPr id="121" name="Picture 24" descr="OpenSesame - Transform Your Workforce with Online Courses">
            <a:extLst>
              <a:ext uri="{FF2B5EF4-FFF2-40B4-BE49-F238E27FC236}">
                <a16:creationId xmlns:a16="http://schemas.microsoft.com/office/drawing/2014/main" id="{7DCDBE4B-9401-4C67-B1AD-77510E81F224}"/>
              </a:ext>
            </a:extLst>
          </p:cNvPr>
          <p:cNvPicPr>
            <a:picLocks noChangeAspect="1" noChangeArrowheads="1"/>
          </p:cNvPicPr>
          <p:nvPr/>
        </p:nvPicPr>
        <p:blipFill>
          <a:blip r:embed="rId1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034878" y="5087961"/>
            <a:ext cx="735806" cy="183134"/>
          </a:xfrm>
          <a:prstGeom prst="rect">
            <a:avLst/>
          </a:prstGeom>
          <a:noFill/>
          <a:extLst>
            <a:ext uri="{909E8E84-426E-40DD-AFC4-6F175D3DCCD1}">
              <a14:hiddenFill xmlns:a14="http://schemas.microsoft.com/office/drawing/2010/main">
                <a:solidFill>
                  <a:srgbClr val="FFFFFF"/>
                </a:solidFill>
              </a14:hiddenFill>
            </a:ext>
          </a:extLst>
        </p:spPr>
      </p:pic>
      <p:pic>
        <p:nvPicPr>
          <p:cNvPr id="122" name="Picture 22" descr="Talent Management System: Future-Ready Employee Experience | Cornerstone">
            <a:extLst>
              <a:ext uri="{FF2B5EF4-FFF2-40B4-BE49-F238E27FC236}">
                <a16:creationId xmlns:a16="http://schemas.microsoft.com/office/drawing/2014/main" id="{575387B2-69EA-4832-863E-8FC3F3CBC2D7}"/>
              </a:ext>
            </a:extLst>
          </p:cNvPr>
          <p:cNvPicPr>
            <a:picLocks noChangeAspect="1" noChangeArrowheads="1"/>
          </p:cNvPicPr>
          <p:nvPr/>
        </p:nvPicPr>
        <p:blipFill rotWithShape="1">
          <a:blip r:embed="rId17">
            <a:clrChange>
              <a:clrFrom>
                <a:srgbClr val="FFFFFF"/>
              </a:clrFrom>
              <a:clrTo>
                <a:srgbClr val="FFFFFF">
                  <a:alpha val="0"/>
                </a:srgbClr>
              </a:clrTo>
            </a:clrChange>
            <a:extLst>
              <a:ext uri="{28A0092B-C50C-407E-A947-70E740481C1C}">
                <a14:useLocalDpi xmlns:a14="http://schemas.microsoft.com/office/drawing/2010/main" val="0"/>
              </a:ext>
            </a:extLst>
          </a:blip>
          <a:srcRect t="34030" b="34030"/>
          <a:stretch/>
        </p:blipFill>
        <p:spPr bwMode="auto">
          <a:xfrm>
            <a:off x="6770685" y="5086483"/>
            <a:ext cx="947738" cy="170277"/>
          </a:xfrm>
          <a:prstGeom prst="rect">
            <a:avLst/>
          </a:prstGeom>
          <a:noFill/>
          <a:extLst>
            <a:ext uri="{909E8E84-426E-40DD-AFC4-6F175D3DCCD1}">
              <a14:hiddenFill xmlns:a14="http://schemas.microsoft.com/office/drawing/2010/main">
                <a:solidFill>
                  <a:srgbClr val="FFFFFF"/>
                </a:solidFill>
              </a14:hiddenFill>
            </a:ext>
          </a:extLst>
        </p:spPr>
      </p:pic>
      <p:pic>
        <p:nvPicPr>
          <p:cNvPr id="123" name="Picture 20" descr="IT &amp;amp; Security Education, Certifications, Awareness &amp;amp; Phishing Simulator -  Infosec">
            <a:extLst>
              <a:ext uri="{FF2B5EF4-FFF2-40B4-BE49-F238E27FC236}">
                <a16:creationId xmlns:a16="http://schemas.microsoft.com/office/drawing/2014/main" id="{FCAA4343-8F08-4DFE-88B8-E4833E4DACEC}"/>
              </a:ext>
            </a:extLst>
          </p:cNvPr>
          <p:cNvPicPr>
            <a:picLocks noChangeAspect="1" noChangeArrowheads="1"/>
          </p:cNvPicPr>
          <p:nvPr/>
        </p:nvPicPr>
        <p:blipFill>
          <a:blip r:embed="rId1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372513" y="4757999"/>
            <a:ext cx="656254" cy="124637"/>
          </a:xfrm>
          <a:prstGeom prst="rect">
            <a:avLst/>
          </a:prstGeom>
          <a:noFill/>
          <a:extLst>
            <a:ext uri="{909E8E84-426E-40DD-AFC4-6F175D3DCCD1}">
              <a14:hiddenFill xmlns:a14="http://schemas.microsoft.com/office/drawing/2010/main">
                <a:solidFill>
                  <a:srgbClr val="FFFFFF"/>
                </a:solidFill>
              </a14:hiddenFill>
            </a:ext>
          </a:extLst>
        </p:spPr>
      </p:pic>
      <p:pic>
        <p:nvPicPr>
          <p:cNvPr id="124" name="Picture 18" descr="Skillsoft, a global leader in corporate digital learning, debuts on New  York Stock Exchange">
            <a:extLst>
              <a:ext uri="{FF2B5EF4-FFF2-40B4-BE49-F238E27FC236}">
                <a16:creationId xmlns:a16="http://schemas.microsoft.com/office/drawing/2014/main" id="{E5EEA47E-061A-461C-9C6D-165A35C10C46}"/>
              </a:ext>
            </a:extLst>
          </p:cNvPr>
          <p:cNvPicPr>
            <a:picLocks noChangeAspect="1" noChangeArrowheads="1"/>
          </p:cNvPicPr>
          <p:nvPr/>
        </p:nvPicPr>
        <p:blipFill rotWithShape="1">
          <a:blip r:embed="rId19">
            <a:clrChange>
              <a:clrFrom>
                <a:srgbClr val="FFFFFF"/>
              </a:clrFrom>
              <a:clrTo>
                <a:srgbClr val="FFFFFF">
                  <a:alpha val="0"/>
                </a:srgbClr>
              </a:clrTo>
            </a:clrChange>
            <a:extLst>
              <a:ext uri="{28A0092B-C50C-407E-A947-70E740481C1C}">
                <a14:useLocalDpi xmlns:a14="http://schemas.microsoft.com/office/drawing/2010/main" val="0"/>
              </a:ext>
            </a:extLst>
          </a:blip>
          <a:srcRect t="29213" b="29213"/>
          <a:stretch/>
        </p:blipFill>
        <p:spPr bwMode="auto">
          <a:xfrm>
            <a:off x="9345550" y="4607482"/>
            <a:ext cx="909616" cy="378170"/>
          </a:xfrm>
          <a:prstGeom prst="rect">
            <a:avLst/>
          </a:prstGeom>
          <a:noFill/>
          <a:extLst>
            <a:ext uri="{909E8E84-426E-40DD-AFC4-6F175D3DCCD1}">
              <a14:hiddenFill xmlns:a14="http://schemas.microsoft.com/office/drawing/2010/main">
                <a:solidFill>
                  <a:srgbClr val="FFFFFF"/>
                </a:solidFill>
              </a14:hiddenFill>
            </a:ext>
          </a:extLst>
        </p:spPr>
      </p:pic>
      <p:pic>
        <p:nvPicPr>
          <p:cNvPr id="125" name="Picture 16" descr="How Udacity was formed and how it is transforming lives">
            <a:extLst>
              <a:ext uri="{FF2B5EF4-FFF2-40B4-BE49-F238E27FC236}">
                <a16:creationId xmlns:a16="http://schemas.microsoft.com/office/drawing/2014/main" id="{3FDCA95D-0491-45F3-A97F-6D1788791955}"/>
              </a:ext>
            </a:extLst>
          </p:cNvPr>
          <p:cNvPicPr>
            <a:picLocks noChangeAspect="1" noChangeArrowheads="1"/>
          </p:cNvPicPr>
          <p:nvPr/>
        </p:nvPicPr>
        <p:blipFill rotWithShape="1">
          <a:blip r:embed="rId20">
            <a:clrChange>
              <a:clrFrom>
                <a:srgbClr val="FEFEFE"/>
              </a:clrFrom>
              <a:clrTo>
                <a:srgbClr val="FEFEFE">
                  <a:alpha val="0"/>
                </a:srgbClr>
              </a:clrTo>
            </a:clrChange>
            <a:extLst>
              <a:ext uri="{28A0092B-C50C-407E-A947-70E740481C1C}">
                <a14:useLocalDpi xmlns:a14="http://schemas.microsoft.com/office/drawing/2010/main" val="0"/>
              </a:ext>
            </a:extLst>
          </a:blip>
          <a:srcRect t="30536" b="30536"/>
          <a:stretch/>
        </p:blipFill>
        <p:spPr bwMode="auto">
          <a:xfrm>
            <a:off x="6702170" y="4728015"/>
            <a:ext cx="853092" cy="186802"/>
          </a:xfrm>
          <a:prstGeom prst="rect">
            <a:avLst/>
          </a:prstGeom>
          <a:noFill/>
          <a:extLst>
            <a:ext uri="{909E8E84-426E-40DD-AFC4-6F175D3DCCD1}">
              <a14:hiddenFill xmlns:a14="http://schemas.microsoft.com/office/drawing/2010/main">
                <a:solidFill>
                  <a:srgbClr val="FFFFFF"/>
                </a:solidFill>
              </a14:hiddenFill>
            </a:ext>
          </a:extLst>
        </p:spPr>
      </p:pic>
      <p:pic>
        <p:nvPicPr>
          <p:cNvPr id="126" name="Picture 14" descr="Online Courses - Learn Anything, On Your Schedule | Udemy">
            <a:extLst>
              <a:ext uri="{FF2B5EF4-FFF2-40B4-BE49-F238E27FC236}">
                <a16:creationId xmlns:a16="http://schemas.microsoft.com/office/drawing/2014/main" id="{8C307981-631F-47E9-A56A-BB1F332659BE}"/>
              </a:ext>
            </a:extLst>
          </p:cNvPr>
          <p:cNvPicPr>
            <a:picLocks noChangeAspect="1" noChangeArrowheads="1"/>
          </p:cNvPicPr>
          <p:nvPr/>
        </p:nvPicPr>
        <p:blipFill>
          <a:blip r:embed="rId21">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433626" y="4717035"/>
            <a:ext cx="1126050" cy="192859"/>
          </a:xfrm>
          <a:prstGeom prst="rect">
            <a:avLst/>
          </a:prstGeom>
          <a:noFill/>
          <a:extLst>
            <a:ext uri="{909E8E84-426E-40DD-AFC4-6F175D3DCCD1}">
              <a14:hiddenFill xmlns:a14="http://schemas.microsoft.com/office/drawing/2010/main">
                <a:solidFill>
                  <a:srgbClr val="FFFFFF"/>
                </a:solidFill>
              </a14:hiddenFill>
            </a:ext>
          </a:extLst>
        </p:spPr>
      </p:pic>
      <p:pic>
        <p:nvPicPr>
          <p:cNvPr id="127" name="Picture 12" descr="Coursera Brand Guide | Coursera">
            <a:extLst>
              <a:ext uri="{FF2B5EF4-FFF2-40B4-BE49-F238E27FC236}">
                <a16:creationId xmlns:a16="http://schemas.microsoft.com/office/drawing/2014/main" id="{504C58BB-B1CA-4ED9-A238-4B30ECF9EF7A}"/>
              </a:ext>
            </a:extLst>
          </p:cNvPr>
          <p:cNvPicPr>
            <a:picLocks noChangeAspect="1" noChangeArrowheads="1"/>
          </p:cNvPicPr>
          <p:nvPr/>
        </p:nvPicPr>
        <p:blipFill>
          <a:blip r:embed="rId2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420314" y="4675857"/>
            <a:ext cx="915541" cy="295644"/>
          </a:xfrm>
          <a:prstGeom prst="rect">
            <a:avLst/>
          </a:prstGeom>
          <a:noFill/>
          <a:extLst>
            <a:ext uri="{909E8E84-426E-40DD-AFC4-6F175D3DCCD1}">
              <a14:hiddenFill xmlns:a14="http://schemas.microsoft.com/office/drawing/2010/main">
                <a:solidFill>
                  <a:srgbClr val="FFFFFF"/>
                </a:solidFill>
              </a14:hiddenFill>
            </a:ext>
          </a:extLst>
        </p:spPr>
      </p:pic>
      <p:pic>
        <p:nvPicPr>
          <p:cNvPr id="128" name="Picture 8" descr="Learning Experience Platform | LXP - EdCast">
            <a:extLst>
              <a:ext uri="{FF2B5EF4-FFF2-40B4-BE49-F238E27FC236}">
                <a16:creationId xmlns:a16="http://schemas.microsoft.com/office/drawing/2014/main" id="{4CBB19F4-DB90-41AA-8E6E-E2F28EC3A2DB}"/>
              </a:ext>
            </a:extLst>
          </p:cNvPr>
          <p:cNvPicPr>
            <a:picLocks noChangeAspect="1" noChangeArrowheads="1"/>
          </p:cNvPicPr>
          <p:nvPr/>
        </p:nvPicPr>
        <p:blipFill>
          <a:blip r:embed="rId2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609136" y="4709955"/>
            <a:ext cx="665459" cy="188567"/>
          </a:xfrm>
          <a:prstGeom prst="rect">
            <a:avLst/>
          </a:prstGeom>
          <a:noFill/>
          <a:extLst>
            <a:ext uri="{909E8E84-426E-40DD-AFC4-6F175D3DCCD1}">
              <a14:hiddenFill xmlns:a14="http://schemas.microsoft.com/office/drawing/2010/main">
                <a:solidFill>
                  <a:srgbClr val="FFFFFF"/>
                </a:solidFill>
              </a14:hiddenFill>
            </a:ext>
          </a:extLst>
        </p:spPr>
      </p:pic>
      <p:pic>
        <p:nvPicPr>
          <p:cNvPr id="10278" name="Picture 38">
            <a:extLst>
              <a:ext uri="{FF2B5EF4-FFF2-40B4-BE49-F238E27FC236}">
                <a16:creationId xmlns:a16="http://schemas.microsoft.com/office/drawing/2014/main" id="{8F8B2B40-BD59-4B90-AED4-29114729D658}"/>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9557978" y="4998899"/>
            <a:ext cx="699606" cy="271462"/>
          </a:xfrm>
          <a:prstGeom prst="rect">
            <a:avLst/>
          </a:prstGeom>
          <a:noFill/>
          <a:extLst>
            <a:ext uri="{909E8E84-426E-40DD-AFC4-6F175D3DCCD1}">
              <a14:hiddenFill xmlns:a14="http://schemas.microsoft.com/office/drawing/2010/main">
                <a:solidFill>
                  <a:srgbClr val="FFFFFF"/>
                </a:solidFill>
              </a14:hiddenFill>
            </a:ext>
          </a:extLst>
        </p:spPr>
      </p:pic>
      <p:cxnSp>
        <p:nvCxnSpPr>
          <p:cNvPr id="9" name="Straight Connector 8">
            <a:extLst>
              <a:ext uri="{FF2B5EF4-FFF2-40B4-BE49-F238E27FC236}">
                <a16:creationId xmlns:a16="http://schemas.microsoft.com/office/drawing/2014/main" id="{8E21E5F5-77F5-41EB-9D1D-43636EF9BA6D}"/>
              </a:ext>
            </a:extLst>
          </p:cNvPr>
          <p:cNvCxnSpPr>
            <a:cxnSpLocks/>
          </p:cNvCxnSpPr>
          <p:nvPr/>
        </p:nvCxnSpPr>
        <p:spPr>
          <a:xfrm>
            <a:off x="11834698" y="3095919"/>
            <a:ext cx="0" cy="919583"/>
          </a:xfrm>
          <a:prstGeom prst="line">
            <a:avLst/>
          </a:prstGeom>
          <a:ln w="25400"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1DBB740F-43D7-46C1-8D2E-CD725C1EB5DD}"/>
              </a:ext>
            </a:extLst>
          </p:cNvPr>
          <p:cNvSpPr txBox="1"/>
          <p:nvPr/>
        </p:nvSpPr>
        <p:spPr>
          <a:xfrm>
            <a:off x="7791870" y="5080163"/>
            <a:ext cx="1662315" cy="1615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n-US"/>
            </a:defPPr>
            <a:lvl1pPr marR="0" lvl="0" indent="0" algn="ctr" defTabSz="932472" fontAlgn="base">
              <a:lnSpc>
                <a:spcPct val="100000"/>
              </a:lnSpc>
              <a:spcBef>
                <a:spcPct val="0"/>
              </a:spcBef>
              <a:spcAft>
                <a:spcPct val="0"/>
              </a:spcAft>
              <a:buClrTx/>
              <a:buSzTx/>
              <a:buFontTx/>
              <a:buNone/>
              <a:tabLst/>
              <a:defRPr kumimoji="0" i="0" u="none" strike="noStrike" cap="none" spc="0" normalizeH="0" baseline="0">
                <a:ln>
                  <a:noFill/>
                </a:ln>
                <a:solidFill>
                  <a:srgbClr val="000000"/>
                </a:solidFill>
                <a:effectLst/>
                <a:uLnTx/>
                <a:uFillTx/>
                <a:latin typeface="+mj-lt"/>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Segoe UI Semibold"/>
                <a:ea typeface="+mn-ea"/>
                <a:cs typeface="Segoe UI" pitchFamily="34" charset="0"/>
              </a:rPr>
              <a:t>Graph API: Content catalog</a:t>
            </a:r>
          </a:p>
        </p:txBody>
      </p:sp>
      <p:sp>
        <p:nvSpPr>
          <p:cNvPr id="4" name="TextBox 3">
            <a:extLst>
              <a:ext uri="{FF2B5EF4-FFF2-40B4-BE49-F238E27FC236}">
                <a16:creationId xmlns:a16="http://schemas.microsoft.com/office/drawing/2014/main" id="{F4C196DE-4657-9836-2198-A91AA9440976}"/>
              </a:ext>
            </a:extLst>
          </p:cNvPr>
          <p:cNvSpPr txBox="1"/>
          <p:nvPr/>
        </p:nvSpPr>
        <p:spPr>
          <a:xfrm>
            <a:off x="10378510" y="5101413"/>
            <a:ext cx="910506" cy="1615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n-US"/>
            </a:defPPr>
            <a:lvl1pPr marR="0" lvl="0" indent="0" algn="ctr" defTabSz="932472" fontAlgn="base">
              <a:lnSpc>
                <a:spcPct val="100000"/>
              </a:lnSpc>
              <a:spcBef>
                <a:spcPct val="0"/>
              </a:spcBef>
              <a:spcAft>
                <a:spcPct val="0"/>
              </a:spcAft>
              <a:buClrTx/>
              <a:buSzTx/>
              <a:buFontTx/>
              <a:buNone/>
              <a:tabLst/>
              <a:defRPr kumimoji="0" i="0" u="none" strike="noStrike" cap="none" spc="0" normalizeH="0" baseline="0">
                <a:ln>
                  <a:noFill/>
                </a:ln>
                <a:solidFill>
                  <a:srgbClr val="000000"/>
                </a:solidFill>
                <a:effectLst/>
                <a:uLnTx/>
                <a:uFillTx/>
                <a:latin typeface="+mj-lt"/>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Segoe UI Semibold"/>
                <a:ea typeface="+mn-ea"/>
                <a:cs typeface="Segoe UI" pitchFamily="34" charset="0"/>
              </a:rPr>
              <a:t>Graph API: LRS</a:t>
            </a:r>
          </a:p>
        </p:txBody>
      </p:sp>
      <p:sp>
        <p:nvSpPr>
          <p:cNvPr id="56" name="TextBox 55">
            <a:extLst>
              <a:ext uri="{FF2B5EF4-FFF2-40B4-BE49-F238E27FC236}">
                <a16:creationId xmlns:a16="http://schemas.microsoft.com/office/drawing/2014/main" id="{5CD8B4CC-A05F-171B-3979-1205A71B7453}"/>
              </a:ext>
            </a:extLst>
          </p:cNvPr>
          <p:cNvSpPr txBox="1"/>
          <p:nvPr/>
        </p:nvSpPr>
        <p:spPr>
          <a:xfrm>
            <a:off x="9641684" y="5190054"/>
            <a:ext cx="857315" cy="214418"/>
          </a:xfrm>
          <a:prstGeom prst="rect">
            <a:avLst/>
          </a:prstGeom>
          <a:noFill/>
        </p:spPr>
        <p:txBody>
          <a:bodyPr wrap="square">
            <a:spAutoFit/>
          </a:bodyPr>
          <a:lstStyle/>
          <a:p>
            <a:pPr marR="0" algn="ctr">
              <a:lnSpc>
                <a:spcPct val="107000"/>
              </a:lnSpc>
              <a:spcBef>
                <a:spcPts val="0"/>
              </a:spcBef>
              <a:spcAft>
                <a:spcPts val="800"/>
              </a:spcAft>
            </a:pPr>
            <a:r>
              <a:rPr lang="en-US" sz="800" b="1" i="1">
                <a:solidFill>
                  <a:schemeClr val="accent5"/>
                </a:solidFill>
                <a:effectLst/>
                <a:latin typeface="Segoe UI" panose="020B0502040204020203" pitchFamily="34" charset="0"/>
                <a:ea typeface="Times New Roman" panose="02020603050405020304" pitchFamily="18" charset="0"/>
                <a:cs typeface="Times New Roman" panose="02020603050405020304" pitchFamily="18" charset="0"/>
              </a:rPr>
              <a:t>Coming soon</a:t>
            </a:r>
          </a:p>
        </p:txBody>
      </p:sp>
      <p:sp>
        <p:nvSpPr>
          <p:cNvPr id="11" name="TextBox 10">
            <a:extLst>
              <a:ext uri="{FF2B5EF4-FFF2-40B4-BE49-F238E27FC236}">
                <a16:creationId xmlns:a16="http://schemas.microsoft.com/office/drawing/2014/main" id="{2E8432E6-22FB-0A77-C771-A487D463886B}"/>
              </a:ext>
            </a:extLst>
          </p:cNvPr>
          <p:cNvSpPr txBox="1"/>
          <p:nvPr/>
        </p:nvSpPr>
        <p:spPr>
          <a:xfrm>
            <a:off x="10656609" y="5190054"/>
            <a:ext cx="857315" cy="214418"/>
          </a:xfrm>
          <a:prstGeom prst="rect">
            <a:avLst/>
          </a:prstGeom>
          <a:noFill/>
        </p:spPr>
        <p:txBody>
          <a:bodyPr wrap="square">
            <a:spAutoFit/>
          </a:bodyPr>
          <a:lstStyle/>
          <a:p>
            <a:pPr marR="0" algn="ctr">
              <a:lnSpc>
                <a:spcPct val="107000"/>
              </a:lnSpc>
              <a:spcBef>
                <a:spcPts val="0"/>
              </a:spcBef>
              <a:spcAft>
                <a:spcPts val="800"/>
              </a:spcAft>
            </a:pPr>
            <a:r>
              <a:rPr lang="en-US" sz="800" b="1" i="1">
                <a:solidFill>
                  <a:schemeClr val="accent5"/>
                </a:solidFill>
                <a:effectLst/>
                <a:latin typeface="Segoe UI" panose="020B0502040204020203" pitchFamily="34" charset="0"/>
                <a:ea typeface="Times New Roman" panose="02020603050405020304" pitchFamily="18" charset="0"/>
                <a:cs typeface="Times New Roman" panose="02020603050405020304" pitchFamily="18" charset="0"/>
              </a:rPr>
              <a:t>Coming soon</a:t>
            </a:r>
          </a:p>
        </p:txBody>
      </p:sp>
      <p:sp>
        <p:nvSpPr>
          <p:cNvPr id="12" name="TextBox 11">
            <a:extLst>
              <a:ext uri="{FF2B5EF4-FFF2-40B4-BE49-F238E27FC236}">
                <a16:creationId xmlns:a16="http://schemas.microsoft.com/office/drawing/2014/main" id="{53728F85-CF4F-113D-D527-CA21284B5DA4}"/>
              </a:ext>
            </a:extLst>
          </p:cNvPr>
          <p:cNvSpPr txBox="1"/>
          <p:nvPr/>
        </p:nvSpPr>
        <p:spPr>
          <a:xfrm>
            <a:off x="8971795" y="5190054"/>
            <a:ext cx="857315" cy="214418"/>
          </a:xfrm>
          <a:prstGeom prst="rect">
            <a:avLst/>
          </a:prstGeom>
          <a:noFill/>
        </p:spPr>
        <p:txBody>
          <a:bodyPr wrap="square">
            <a:spAutoFit/>
          </a:bodyPr>
          <a:lstStyle/>
          <a:p>
            <a:pPr marR="0" algn="ctr">
              <a:lnSpc>
                <a:spcPct val="107000"/>
              </a:lnSpc>
              <a:spcBef>
                <a:spcPts val="0"/>
              </a:spcBef>
              <a:spcAft>
                <a:spcPts val="800"/>
              </a:spcAft>
            </a:pPr>
            <a:r>
              <a:rPr lang="en-US" sz="800" b="1" i="1">
                <a:solidFill>
                  <a:schemeClr val="accent5"/>
                </a:solidFill>
                <a:effectLst/>
                <a:latin typeface="Segoe UI" panose="020B0502040204020203" pitchFamily="34" charset="0"/>
                <a:ea typeface="Times New Roman" panose="02020603050405020304" pitchFamily="18" charset="0"/>
                <a:cs typeface="Times New Roman" panose="02020603050405020304" pitchFamily="18" charset="0"/>
              </a:rPr>
              <a:t>NEW</a:t>
            </a:r>
          </a:p>
        </p:txBody>
      </p:sp>
    </p:spTree>
    <p:extLst>
      <p:ext uri="{BB962C8B-B14F-4D97-AF65-F5344CB8AC3E}">
        <p14:creationId xmlns:p14="http://schemas.microsoft.com/office/powerpoint/2010/main" val="3707381991"/>
      </p:ext>
    </p:extLst>
  </p:cSld>
  <p:clrMapOvr>
    <a:masterClrMapping/>
  </p:clrMapOvr>
  <p:transition>
    <p:fade/>
  </p:transition>
  <p:extLst>
    <p:ext uri="{6950BFC3-D8DA-4A85-94F7-54DA5524770B}">
      <p188:commentRel xmlns:p188="http://schemas.microsoft.com/office/powerpoint/2018/8/main" r:id="rId3"/>
    </p:ext>
  </p:extLst>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449067" y="2325680"/>
            <a:ext cx="4717518" cy="1246335"/>
          </a:xfrm>
        </p:spPr>
        <p:txBody>
          <a:bodyPr/>
          <a:lstStyle/>
          <a:p>
            <a:r>
              <a:rPr lang="en-US"/>
              <a:t>How, What &amp; When: Graph APIs</a:t>
            </a:r>
          </a:p>
        </p:txBody>
      </p:sp>
      <p:sp>
        <p:nvSpPr>
          <p:cNvPr id="2" name="Text Placeholder 1">
            <a:extLst>
              <a:ext uri="{FF2B5EF4-FFF2-40B4-BE49-F238E27FC236}">
                <a16:creationId xmlns:a16="http://schemas.microsoft.com/office/drawing/2014/main" id="{4C29CD2D-74AB-41DE-A1D2-1029D17567B0}"/>
              </a:ext>
            </a:extLst>
          </p:cNvPr>
          <p:cNvSpPr>
            <a:spLocks noGrp="1"/>
          </p:cNvSpPr>
          <p:nvPr>
            <p:ph type="body" sz="quarter" idx="12"/>
          </p:nvPr>
        </p:nvSpPr>
        <p:spPr>
          <a:xfrm>
            <a:off x="584200" y="4076417"/>
            <a:ext cx="4461764" cy="338554"/>
          </a:xfrm>
        </p:spPr>
        <p:txBody>
          <a:bodyPr/>
          <a:lstStyle/>
          <a:p>
            <a:r>
              <a:rPr lang="en-US"/>
              <a:t>Divyanka Malik</a:t>
            </a:r>
          </a:p>
        </p:txBody>
      </p:sp>
      <p:pic>
        <p:nvPicPr>
          <p:cNvPr id="6" name="Graphic 5" descr="Microsoft 365 logo">
            <a:extLst>
              <a:ext uri="{FF2B5EF4-FFF2-40B4-BE49-F238E27FC236}">
                <a16:creationId xmlns:a16="http://schemas.microsoft.com/office/drawing/2014/main" id="{976705A2-81C3-4006-9B93-E972DF4F4C3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4200" y="585788"/>
            <a:ext cx="1812544" cy="292608"/>
          </a:xfrm>
          <a:prstGeom prst="rect">
            <a:avLst/>
          </a:prstGeom>
        </p:spPr>
      </p:pic>
    </p:spTree>
    <p:extLst>
      <p:ext uri="{BB962C8B-B14F-4D97-AF65-F5344CB8AC3E}">
        <p14:creationId xmlns:p14="http://schemas.microsoft.com/office/powerpoint/2010/main" val="30396872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6950BFC3-D8DA-4A85-94F7-54DA5524770B}">
      <p188:commentRel xmlns:p188="http://schemas.microsoft.com/office/powerpoint/2018/8/main" r:id="rId3"/>
    </p:ext>
  </p:extLs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Rectangle: Rounded Corners 78">
            <a:extLst>
              <a:ext uri="{FF2B5EF4-FFF2-40B4-BE49-F238E27FC236}">
                <a16:creationId xmlns:a16="http://schemas.microsoft.com/office/drawing/2014/main" id="{614CD94C-2CBC-4CF5-A530-C424F64A4DFE}"/>
              </a:ext>
              <a:ext uri="{C183D7F6-B498-43B3-948B-1728B52AA6E4}">
                <adec:decorative xmlns:adec="http://schemas.microsoft.com/office/drawing/2017/decorative" val="1"/>
              </a:ext>
            </a:extLst>
          </p:cNvPr>
          <p:cNvSpPr/>
          <p:nvPr/>
        </p:nvSpPr>
        <p:spPr bwMode="auto">
          <a:xfrm>
            <a:off x="9239105" y="2667000"/>
            <a:ext cx="2494488" cy="3671558"/>
          </a:xfrm>
          <a:prstGeom prst="roundRect">
            <a:avLst>
              <a:gd name="adj" fmla="val 4163"/>
            </a:avLst>
          </a:prstGeom>
          <a:solidFill>
            <a:schemeClr val="bg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3B2E58"/>
              </a:solidFill>
              <a:effectLst/>
              <a:uLnTx/>
              <a:uFillTx/>
              <a:latin typeface="Segoe UI Semibold"/>
              <a:ea typeface="Segoe UI" pitchFamily="34" charset="0"/>
              <a:cs typeface="Segoe UI" pitchFamily="34" charset="0"/>
            </a:endParaRPr>
          </a:p>
        </p:txBody>
      </p:sp>
      <p:sp>
        <p:nvSpPr>
          <p:cNvPr id="44" name="Rectangle: Rounded Corners 43">
            <a:extLst>
              <a:ext uri="{FF2B5EF4-FFF2-40B4-BE49-F238E27FC236}">
                <a16:creationId xmlns:a16="http://schemas.microsoft.com/office/drawing/2014/main" id="{477A8B6C-3C0F-4B7A-9F48-35964BD54D9C}"/>
              </a:ext>
              <a:ext uri="{C183D7F6-B498-43B3-948B-1728B52AA6E4}">
                <adec:decorative xmlns:adec="http://schemas.microsoft.com/office/drawing/2017/decorative" val="1"/>
              </a:ext>
            </a:extLst>
          </p:cNvPr>
          <p:cNvSpPr/>
          <p:nvPr/>
        </p:nvSpPr>
        <p:spPr bwMode="auto">
          <a:xfrm>
            <a:off x="592591" y="1511981"/>
            <a:ext cx="4004045" cy="4832349"/>
          </a:xfrm>
          <a:prstGeom prst="roundRect">
            <a:avLst>
              <a:gd name="adj" fmla="val 4163"/>
            </a:avLst>
          </a:prstGeom>
          <a:solidFill>
            <a:schemeClr val="bg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3B2E58"/>
              </a:solidFill>
              <a:effectLst/>
              <a:uLnTx/>
              <a:uFillTx/>
              <a:latin typeface="Segoe UI Semibold"/>
              <a:ea typeface="Segoe UI" pitchFamily="34" charset="0"/>
              <a:cs typeface="Segoe UI" pitchFamily="34" charset="0"/>
            </a:endParaRPr>
          </a:p>
        </p:txBody>
      </p:sp>
      <p:sp>
        <p:nvSpPr>
          <p:cNvPr id="47" name="Rectangle: Rounded Corners 46">
            <a:extLst>
              <a:ext uri="{FF2B5EF4-FFF2-40B4-BE49-F238E27FC236}">
                <a16:creationId xmlns:a16="http://schemas.microsoft.com/office/drawing/2014/main" id="{F3A16DCA-0CB4-42BD-854E-D922D7B56FE8}"/>
              </a:ext>
              <a:ext uri="{C183D7F6-B498-43B3-948B-1728B52AA6E4}">
                <adec:decorative xmlns:adec="http://schemas.microsoft.com/office/drawing/2017/decorative" val="1"/>
              </a:ext>
            </a:extLst>
          </p:cNvPr>
          <p:cNvSpPr/>
          <p:nvPr/>
        </p:nvSpPr>
        <p:spPr bwMode="auto">
          <a:xfrm>
            <a:off x="5410200" y="2667000"/>
            <a:ext cx="2723273" cy="3747668"/>
          </a:xfrm>
          <a:prstGeom prst="roundRect">
            <a:avLst>
              <a:gd name="adj" fmla="val 4163"/>
            </a:avLst>
          </a:prstGeom>
          <a:solidFill>
            <a:schemeClr val="bg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3B2E58"/>
              </a:solidFill>
              <a:effectLst/>
              <a:uLnTx/>
              <a:uFillTx/>
              <a:latin typeface="Segoe UI Semibold"/>
              <a:ea typeface="Segoe UI" pitchFamily="34" charset="0"/>
              <a:cs typeface="Segoe UI" pitchFamily="34" charset="0"/>
            </a:endParaRPr>
          </a:p>
        </p:txBody>
      </p:sp>
      <p:sp>
        <p:nvSpPr>
          <p:cNvPr id="2" name="Title 1">
            <a:extLst>
              <a:ext uri="{FF2B5EF4-FFF2-40B4-BE49-F238E27FC236}">
                <a16:creationId xmlns:a16="http://schemas.microsoft.com/office/drawing/2014/main" id="{3F6C01C8-D3C4-473C-8A8D-F2F02AB9776A}"/>
              </a:ext>
            </a:extLst>
          </p:cNvPr>
          <p:cNvSpPr>
            <a:spLocks noGrp="1"/>
          </p:cNvSpPr>
          <p:nvPr>
            <p:ph type="title"/>
          </p:nvPr>
        </p:nvSpPr>
        <p:spPr>
          <a:xfrm>
            <a:off x="588263" y="457200"/>
            <a:ext cx="11018520" cy="861774"/>
          </a:xfrm>
        </p:spPr>
        <p:txBody>
          <a:bodyPr/>
          <a:lstStyle/>
          <a:p>
            <a:r>
              <a:rPr lang="en-US" sz="2800">
                <a:solidFill>
                  <a:srgbClr val="107C10"/>
                </a:solidFill>
                <a:cs typeface="Segoe UI"/>
              </a:rPr>
              <a:t>Understand </a:t>
            </a:r>
            <a:r>
              <a:rPr lang="en-US">
                <a:solidFill>
                  <a:srgbClr val="107C10"/>
                </a:solidFill>
                <a:cs typeface="Segoe UI"/>
              </a:rPr>
              <a:t>Learning</a:t>
            </a:r>
            <a:r>
              <a:rPr lang="en-US" sz="2800">
                <a:solidFill>
                  <a:srgbClr val="107C10"/>
                </a:solidFill>
                <a:cs typeface="Segoe UI"/>
              </a:rPr>
              <a:t> </a:t>
            </a:r>
            <a:r>
              <a:rPr lang="en-US">
                <a:solidFill>
                  <a:srgbClr val="107C10"/>
                </a:solidFill>
                <a:cs typeface="Segoe UI"/>
              </a:rPr>
              <a:t>sources integration-</a:t>
            </a:r>
            <a:r>
              <a:rPr lang="en-US" sz="2800">
                <a:solidFill>
                  <a:srgbClr val="107C10"/>
                </a:solidFill>
                <a:cs typeface="Segoe UI"/>
              </a:rPr>
              <a:t> Diagram</a:t>
            </a:r>
            <a:br>
              <a:rPr lang="en-US" sz="2800"/>
            </a:br>
            <a:r>
              <a:rPr lang="en-US" sz="2000" spc="0">
                <a:cs typeface="Segoe UI"/>
              </a:rPr>
              <a:t>LMS Learning content and assignments</a:t>
            </a:r>
            <a:endParaRPr lang="en-US" sz="2800" spc="0">
              <a:cs typeface="Segoe UI"/>
            </a:endParaRPr>
          </a:p>
        </p:txBody>
      </p:sp>
      <p:sp>
        <p:nvSpPr>
          <p:cNvPr id="80" name="TextBox 79">
            <a:extLst>
              <a:ext uri="{FF2B5EF4-FFF2-40B4-BE49-F238E27FC236}">
                <a16:creationId xmlns:a16="http://schemas.microsoft.com/office/drawing/2014/main" id="{8A8CBB2A-5EC8-4619-9AF7-641E548ACF09}"/>
              </a:ext>
            </a:extLst>
          </p:cNvPr>
          <p:cNvSpPr txBox="1"/>
          <p:nvPr/>
        </p:nvSpPr>
        <p:spPr>
          <a:xfrm>
            <a:off x="938297" y="1571494"/>
            <a:ext cx="3456520" cy="338554"/>
          </a:xfrm>
          <a:prstGeom prst="rect">
            <a:avLst/>
          </a:prstGeom>
          <a:noFill/>
        </p:spPr>
        <p:txBody>
          <a:bodyPr wrap="square" lIns="0" rtlCol="0">
            <a:spAutoFit/>
          </a:bodyPr>
          <a:lstStyle/>
          <a:p>
            <a:pPr marL="0" marR="0" lvl="0" indent="0" algn="l" defTabSz="913698"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107C10"/>
                </a:solidFill>
                <a:effectLst/>
                <a:uLnTx/>
                <a:uFillTx/>
                <a:latin typeface="Segoe UI Semibold"/>
                <a:ea typeface="+mn-ea"/>
                <a:cs typeface="+mn-cs"/>
              </a:rPr>
              <a:t>Viva Learning</a:t>
            </a:r>
          </a:p>
        </p:txBody>
      </p:sp>
      <p:sp>
        <p:nvSpPr>
          <p:cNvPr id="5" name="TextBox 4">
            <a:extLst>
              <a:ext uri="{FF2B5EF4-FFF2-40B4-BE49-F238E27FC236}">
                <a16:creationId xmlns:a16="http://schemas.microsoft.com/office/drawing/2014/main" id="{2129F854-B88E-44BE-814F-92B7E745DBD5}"/>
              </a:ext>
            </a:extLst>
          </p:cNvPr>
          <p:cNvSpPr txBox="1"/>
          <p:nvPr/>
        </p:nvSpPr>
        <p:spPr>
          <a:xfrm>
            <a:off x="938297" y="3776200"/>
            <a:ext cx="2557387" cy="276999"/>
          </a:xfrm>
          <a:prstGeom prst="rect">
            <a:avLst/>
          </a:prstGeom>
          <a:noFill/>
        </p:spPr>
        <p:txBody>
          <a:bodyPr wrap="square" lIns="0" tIns="45720" rIns="91440" bIns="45720" rtlCol="0" anchor="t">
            <a:spAutoFit/>
          </a:bodyPr>
          <a:lstStyle/>
          <a:p>
            <a:pPr marL="0" marR="0" lvl="0" indent="0" algn="l" defTabSz="913788" rtl="0" eaLnBrk="1" fontAlgn="auto" latinLnBrk="0" hangingPunct="1">
              <a:lnSpc>
                <a:spcPct val="100000"/>
              </a:lnSpc>
              <a:spcBef>
                <a:spcPts val="0"/>
              </a:spcBef>
              <a:spcAft>
                <a:spcPts val="588"/>
              </a:spcAft>
              <a:buClrTx/>
              <a:buSzTx/>
              <a:buFontTx/>
              <a:buNone/>
              <a:tabLst/>
              <a:defRPr/>
            </a:pPr>
            <a:r>
              <a:rPr kumimoji="0" lang="en-US" sz="1200" b="0" i="0" u="none" strike="noStrike" kern="1200" cap="none" spc="0" normalizeH="0" baseline="0" noProof="0">
                <a:ln>
                  <a:noFill/>
                </a:ln>
                <a:solidFill>
                  <a:srgbClr val="2F2F2F"/>
                </a:solidFill>
                <a:effectLst/>
                <a:uLnTx/>
                <a:uFillTx/>
                <a:latin typeface="Segoe UI"/>
                <a:ea typeface="+mn-ea"/>
                <a:cs typeface="+mn-cs"/>
              </a:rPr>
              <a:t>Customer’s learning content catalog</a:t>
            </a:r>
          </a:p>
        </p:txBody>
      </p:sp>
      <p:sp>
        <p:nvSpPr>
          <p:cNvPr id="7" name="Rectangle 6">
            <a:extLst>
              <a:ext uri="{FF2B5EF4-FFF2-40B4-BE49-F238E27FC236}">
                <a16:creationId xmlns:a16="http://schemas.microsoft.com/office/drawing/2014/main" id="{5107C24C-B1E6-4D50-BC1A-A6559DF69172}"/>
              </a:ext>
            </a:extLst>
          </p:cNvPr>
          <p:cNvSpPr/>
          <p:nvPr/>
        </p:nvSpPr>
        <p:spPr>
          <a:xfrm>
            <a:off x="927244" y="5957118"/>
            <a:ext cx="3261653" cy="276999"/>
          </a:xfrm>
          <a:prstGeom prst="rect">
            <a:avLst/>
          </a:prstGeom>
        </p:spPr>
        <p:txBody>
          <a:bodyPr wrap="square" lIns="0" tIns="45720" rIns="91440" bIns="45720" anchor="t">
            <a:spAutoFit/>
          </a:bodyPr>
          <a:lstStyle/>
          <a:p>
            <a:pPr marL="0" marR="0" lvl="0" indent="0" algn="l" defTabSz="913788" rtl="0" eaLnBrk="1" fontAlgn="auto" latinLnBrk="0" hangingPunct="1">
              <a:lnSpc>
                <a:spcPct val="100000"/>
              </a:lnSpc>
              <a:spcBef>
                <a:spcPts val="0"/>
              </a:spcBef>
              <a:spcAft>
                <a:spcPts val="588"/>
              </a:spcAft>
              <a:buClrTx/>
              <a:buSzTx/>
              <a:buFontTx/>
              <a:buNone/>
              <a:tabLst/>
              <a:defRPr/>
            </a:pPr>
            <a:r>
              <a:rPr kumimoji="0" lang="en-US" sz="1200" b="0" i="0" u="none" strike="noStrike" kern="1200" cap="none" spc="0" normalizeH="0" baseline="0" noProof="0">
                <a:ln>
                  <a:noFill/>
                </a:ln>
                <a:solidFill>
                  <a:srgbClr val="2F2F2F"/>
                </a:solidFill>
                <a:effectLst/>
                <a:uLnTx/>
                <a:uFillTx/>
                <a:latin typeface="Segoe UI"/>
                <a:ea typeface="+mn-ea"/>
                <a:cs typeface="Segoe UI"/>
              </a:rPr>
              <a:t>Learner's Assignments &amp; Completed courses</a:t>
            </a:r>
          </a:p>
        </p:txBody>
      </p:sp>
      <p:sp>
        <p:nvSpPr>
          <p:cNvPr id="83" name="TextBox 82">
            <a:extLst>
              <a:ext uri="{FF2B5EF4-FFF2-40B4-BE49-F238E27FC236}">
                <a16:creationId xmlns:a16="http://schemas.microsoft.com/office/drawing/2014/main" id="{BEC619D3-313E-4456-B795-1CDD39F0A282}"/>
              </a:ext>
            </a:extLst>
          </p:cNvPr>
          <p:cNvSpPr txBox="1"/>
          <p:nvPr/>
        </p:nvSpPr>
        <p:spPr>
          <a:xfrm>
            <a:off x="5410200" y="1428721"/>
            <a:ext cx="5782364" cy="1107996"/>
          </a:xfrm>
          <a:prstGeom prst="rect">
            <a:avLst/>
          </a:prstGeom>
          <a:noFill/>
        </p:spPr>
        <p:txBody>
          <a:bodyPr wrap="square" lIns="0" tIns="0" rIns="0" bIns="0" anchor="ctr">
            <a:spAutoFit/>
          </a:bodyPr>
          <a:lstStyle/>
          <a:p>
            <a:pPr marL="0" marR="0" lvl="1" indent="0" algn="l" defTabSz="896181" rtl="0" eaLnBrk="1" fontAlgn="auto" latinLnBrk="0" hangingPunct="1">
              <a:lnSpc>
                <a:spcPct val="100000"/>
              </a:lnSpc>
              <a:spcBef>
                <a:spcPts val="0"/>
              </a:spcBef>
              <a:spcAft>
                <a:spcPts val="0"/>
              </a:spcAft>
              <a:buClrTx/>
              <a:buSzPct val="90000"/>
              <a:buFontTx/>
              <a:buNone/>
              <a:tabLst/>
              <a:defRPr/>
            </a:pPr>
            <a:r>
              <a:rPr kumimoji="0" lang="en-US" sz="1600" b="0" i="0" u="none" strike="noStrike" kern="1200" cap="none" spc="0" normalizeH="0" baseline="0" noProof="0">
                <a:ln>
                  <a:noFill/>
                </a:ln>
                <a:solidFill>
                  <a:srgbClr val="107C10"/>
                </a:solidFill>
                <a:effectLst/>
                <a:uLnTx/>
                <a:uFillTx/>
                <a:latin typeface="Segoe UI Semibold"/>
                <a:ea typeface="+mn-ea"/>
                <a:cs typeface="Segoe UI"/>
              </a:rPr>
              <a:t>Use cases</a:t>
            </a:r>
          </a:p>
          <a:p>
            <a:pPr marL="0" marR="0" lvl="1" indent="-255270" algn="l" defTabSz="896181" rtl="0" eaLnBrk="1" fontAlgn="auto" latinLnBrk="0" hangingPunct="1">
              <a:lnSpc>
                <a:spcPct val="100000"/>
              </a:lnSpc>
              <a:spcBef>
                <a:spcPts val="0"/>
              </a:spcBef>
              <a:spcAft>
                <a:spcPts val="0"/>
              </a:spcAft>
              <a:buClrTx/>
              <a:buSzPct val="90000"/>
              <a:buFont typeface="+mj-lt"/>
              <a:buAutoNum type="arabicPeriod"/>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Segoe UI"/>
              </a:rPr>
              <a:t>Content Catalog Sync – </a:t>
            </a:r>
            <a:r>
              <a:rPr kumimoji="0" lang="en-US" sz="1400" b="0" i="0" u="none" strike="noStrike" kern="1200" cap="none" spc="0" normalizeH="0" baseline="0" noProof="0">
                <a:ln>
                  <a:noFill/>
                </a:ln>
                <a:solidFill>
                  <a:srgbClr val="000000"/>
                </a:solidFill>
                <a:effectLst/>
                <a:uLnTx/>
                <a:uFillTx/>
                <a:latin typeface="Segoe UI"/>
                <a:ea typeface="+mn-ea"/>
                <a:cs typeface="Segoe UI"/>
              </a:rPr>
              <a:t>Users can discover the content from their LMS within Viva Learning &amp; consume the content in LMS.</a:t>
            </a:r>
            <a:endParaRPr kumimoji="0" lang="en-US" sz="14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a:p>
            <a:pPr marL="0" marR="0" lvl="1" indent="-255270" algn="l" defTabSz="896181" rtl="0" eaLnBrk="1" fontAlgn="auto" latinLnBrk="0" hangingPunct="1">
              <a:lnSpc>
                <a:spcPct val="100000"/>
              </a:lnSpc>
              <a:spcBef>
                <a:spcPts val="0"/>
              </a:spcBef>
              <a:spcAft>
                <a:spcPts val="0"/>
              </a:spcAft>
              <a:buClrTx/>
              <a:buSzPct val="90000"/>
              <a:buFont typeface="+mj-lt"/>
              <a:buAutoNum type="arabicPeriod"/>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Segoe UI"/>
              </a:rPr>
              <a:t>Learner Record Sync – </a:t>
            </a:r>
            <a:r>
              <a:rPr kumimoji="0" lang="en-US" sz="1400" b="0" i="0" u="none" strike="noStrike" kern="1200" cap="none" spc="0" normalizeH="0" baseline="0" noProof="0">
                <a:ln>
                  <a:noFill/>
                </a:ln>
                <a:solidFill>
                  <a:srgbClr val="000000"/>
                </a:solidFill>
                <a:effectLst/>
                <a:uLnTx/>
                <a:uFillTx/>
                <a:latin typeface="Segoe UI"/>
                <a:ea typeface="+mn-ea"/>
                <a:cs typeface="Segoe UI"/>
              </a:rPr>
              <a:t>Users can discover their Assigned &amp; Completed courses from LMS within Viva Learning.</a:t>
            </a:r>
            <a:endParaRPr kumimoji="0" lang="en-US" sz="14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p:txBody>
      </p:sp>
      <p:sp>
        <p:nvSpPr>
          <p:cNvPr id="73" name="Rectangle: Rounded Corners 72">
            <a:extLst>
              <a:ext uri="{FF2B5EF4-FFF2-40B4-BE49-F238E27FC236}">
                <a16:creationId xmlns:a16="http://schemas.microsoft.com/office/drawing/2014/main" id="{3134CF9B-1FC0-4149-984E-72CDDABCFB8F}"/>
              </a:ext>
              <a:ext uri="{C183D7F6-B498-43B3-948B-1728B52AA6E4}">
                <adec:decorative xmlns:adec="http://schemas.microsoft.com/office/drawing/2017/decorative" val="0"/>
              </a:ext>
            </a:extLst>
          </p:cNvPr>
          <p:cNvSpPr/>
          <p:nvPr/>
        </p:nvSpPr>
        <p:spPr bwMode="auto">
          <a:xfrm>
            <a:off x="5557460" y="6066320"/>
            <a:ext cx="2431789" cy="273062"/>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Connectors</a:t>
            </a:r>
          </a:p>
        </p:txBody>
      </p:sp>
      <p:sp>
        <p:nvSpPr>
          <p:cNvPr id="4" name="TextBox 3">
            <a:extLst>
              <a:ext uri="{FF2B5EF4-FFF2-40B4-BE49-F238E27FC236}">
                <a16:creationId xmlns:a16="http://schemas.microsoft.com/office/drawing/2014/main" id="{7E118C5B-3455-4944-902D-6B9C7BBBCE56}"/>
              </a:ext>
            </a:extLst>
          </p:cNvPr>
          <p:cNvSpPr txBox="1"/>
          <p:nvPr/>
        </p:nvSpPr>
        <p:spPr>
          <a:xfrm>
            <a:off x="9543318" y="2831442"/>
            <a:ext cx="1887964" cy="344415"/>
          </a:xfrm>
          <a:prstGeom prst="rect">
            <a:avLst/>
          </a:prstGeom>
          <a:noFill/>
        </p:spPr>
        <p:txBody>
          <a:bodyPr wrap="square" lIns="0" tIns="45720" rIns="91440" bIns="45720" rtlCol="0" anchor="t">
            <a:spAutoFit/>
          </a:bodyPr>
          <a:lstStyle/>
          <a:p>
            <a:pPr marL="0" marR="0" lvl="0" indent="0" algn="ctr" defTabSz="913698"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107C10"/>
                </a:solidFill>
                <a:effectLst/>
                <a:uLnTx/>
                <a:uFillTx/>
                <a:latin typeface="Segoe UI Semibold"/>
                <a:ea typeface="+mn-ea"/>
                <a:cs typeface="+mn-cs"/>
              </a:rPr>
              <a:t>LMS/3P sources</a:t>
            </a:r>
          </a:p>
        </p:txBody>
      </p:sp>
      <p:sp>
        <p:nvSpPr>
          <p:cNvPr id="76" name="Rectangle 75">
            <a:extLst>
              <a:ext uri="{FF2B5EF4-FFF2-40B4-BE49-F238E27FC236}">
                <a16:creationId xmlns:a16="http://schemas.microsoft.com/office/drawing/2014/main" id="{AFF8F1E3-1995-4804-BD97-59971360B7DD}"/>
              </a:ext>
            </a:extLst>
          </p:cNvPr>
          <p:cNvSpPr/>
          <p:nvPr/>
        </p:nvSpPr>
        <p:spPr>
          <a:xfrm>
            <a:off x="9431257" y="3550732"/>
            <a:ext cx="2110184" cy="876847"/>
          </a:xfrm>
          <a:prstGeom prst="rect">
            <a:avLst/>
          </a:prstGeom>
          <a:solidFill>
            <a:schemeClr val="bg2"/>
          </a:solidFill>
          <a:ln w="19050">
            <a:no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Content catalog</a:t>
            </a:r>
          </a:p>
        </p:txBody>
      </p:sp>
      <p:sp>
        <p:nvSpPr>
          <p:cNvPr id="77" name="Rectangle 76">
            <a:extLst>
              <a:ext uri="{FF2B5EF4-FFF2-40B4-BE49-F238E27FC236}">
                <a16:creationId xmlns:a16="http://schemas.microsoft.com/office/drawing/2014/main" id="{462C2FEE-678A-4611-907F-722D92E4AACC}"/>
              </a:ext>
            </a:extLst>
          </p:cNvPr>
          <p:cNvSpPr/>
          <p:nvPr/>
        </p:nvSpPr>
        <p:spPr>
          <a:xfrm>
            <a:off x="9438631" y="4557862"/>
            <a:ext cx="2102810" cy="982173"/>
          </a:xfrm>
          <a:prstGeom prst="rect">
            <a:avLst/>
          </a:prstGeom>
          <a:solidFill>
            <a:schemeClr val="bg2"/>
          </a:solidFill>
          <a:ln w="19050">
            <a:no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Assignments &amp;</a:t>
            </a:r>
            <a:br>
              <a:rPr kumimoji="0" lang="en-US" sz="1200" b="0" i="0" u="none" strike="noStrike" kern="1200" cap="none" spc="0" normalizeH="0" baseline="0" noProof="0">
                <a:ln>
                  <a:noFill/>
                </a:ln>
                <a:solidFill>
                  <a:srgbClr val="000000"/>
                </a:solidFill>
                <a:effectLst/>
                <a:uLnTx/>
                <a:uFillTx/>
                <a:latin typeface="Segoe UI"/>
                <a:ea typeface="+mn-ea"/>
                <a:cs typeface="+mn-cs"/>
              </a:rPr>
            </a:br>
            <a:r>
              <a:rPr kumimoji="0" lang="en-US" sz="1200" b="0" i="0" u="none" strike="noStrike" kern="1200" cap="none" spc="0" normalizeH="0" baseline="0" noProof="0">
                <a:ln>
                  <a:noFill/>
                </a:ln>
                <a:solidFill>
                  <a:srgbClr val="000000"/>
                </a:solidFill>
                <a:effectLst/>
                <a:uLnTx/>
                <a:uFillTx/>
                <a:latin typeface="Segoe UI"/>
                <a:ea typeface="+mn-ea"/>
                <a:cs typeface="+mn-cs"/>
              </a:rPr>
              <a:t>Completion </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records</a:t>
            </a:r>
            <a:endParaRPr kumimoji="0" lang="en-US" sz="1200" b="0" i="0" u="none" strike="noStrike" kern="1200" cap="none" spc="0" normalizeH="0" baseline="0" noProof="0">
              <a:ln>
                <a:noFill/>
              </a:ln>
              <a:solidFill>
                <a:srgbClr val="000000"/>
              </a:solidFill>
              <a:effectLst/>
              <a:uLnTx/>
              <a:uFillTx/>
              <a:latin typeface="Segoe UI"/>
              <a:ea typeface="+mn-ea"/>
              <a:cs typeface="Segoe UI"/>
            </a:endParaRPr>
          </a:p>
        </p:txBody>
      </p:sp>
      <p:cxnSp>
        <p:nvCxnSpPr>
          <p:cNvPr id="81" name="Straight Arrow Connector 80">
            <a:extLst>
              <a:ext uri="{FF2B5EF4-FFF2-40B4-BE49-F238E27FC236}">
                <a16:creationId xmlns:a16="http://schemas.microsoft.com/office/drawing/2014/main" id="{32A1B8CC-7312-4CC6-8677-8D9824B8BBAA}"/>
              </a:ext>
              <a:ext uri="{C183D7F6-B498-43B3-948B-1728B52AA6E4}">
                <adec:decorative xmlns:adec="http://schemas.microsoft.com/office/drawing/2017/decorative" val="1"/>
              </a:ext>
            </a:extLst>
          </p:cNvPr>
          <p:cNvCxnSpPr>
            <a:cxnSpLocks/>
          </p:cNvCxnSpPr>
          <p:nvPr/>
        </p:nvCxnSpPr>
        <p:spPr>
          <a:xfrm flipV="1">
            <a:off x="8171151" y="3703257"/>
            <a:ext cx="1070597" cy="5771"/>
          </a:xfrm>
          <a:prstGeom prst="straightConnector1">
            <a:avLst/>
          </a:prstGeom>
          <a:ln w="19050">
            <a:solidFill>
              <a:schemeClr val="bg1">
                <a:lumMod val="75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31" name="Rectangle: Rounded Corners 30">
            <a:extLst>
              <a:ext uri="{FF2B5EF4-FFF2-40B4-BE49-F238E27FC236}">
                <a16:creationId xmlns:a16="http://schemas.microsoft.com/office/drawing/2014/main" id="{9110D4B6-DB70-4DBE-0BF2-7D2ADC1183D1}"/>
              </a:ext>
              <a:ext uri="{C183D7F6-B498-43B3-948B-1728B52AA6E4}">
                <adec:decorative xmlns:adec="http://schemas.microsoft.com/office/drawing/2017/decorative" val="1"/>
              </a:ext>
            </a:extLst>
          </p:cNvPr>
          <p:cNvSpPr/>
          <p:nvPr/>
        </p:nvSpPr>
        <p:spPr bwMode="auto">
          <a:xfrm>
            <a:off x="5510379" y="4636476"/>
            <a:ext cx="2477089" cy="1385469"/>
          </a:xfrm>
          <a:prstGeom prst="roundRect">
            <a:avLst>
              <a:gd name="adj" fmla="val 4163"/>
            </a:avLst>
          </a:prstGeom>
          <a:solidFill>
            <a:schemeClr val="bg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3B2E58"/>
              </a:solidFill>
              <a:effectLst/>
              <a:uLnTx/>
              <a:uFillTx/>
              <a:latin typeface="Segoe UI Semibold"/>
              <a:ea typeface="Segoe UI" pitchFamily="34" charset="0"/>
              <a:cs typeface="Segoe UI" pitchFamily="34" charset="0"/>
            </a:endParaRPr>
          </a:p>
        </p:txBody>
      </p:sp>
      <p:sp>
        <p:nvSpPr>
          <p:cNvPr id="32" name="Rectangle: Rounded Corners 31">
            <a:extLst>
              <a:ext uri="{FF2B5EF4-FFF2-40B4-BE49-F238E27FC236}">
                <a16:creationId xmlns:a16="http://schemas.microsoft.com/office/drawing/2014/main" id="{E94CE115-0964-5C14-4E19-719A6B3F36EC}"/>
              </a:ext>
              <a:ext uri="{C183D7F6-B498-43B3-948B-1728B52AA6E4}">
                <adec:decorative xmlns:adec="http://schemas.microsoft.com/office/drawing/2017/decorative" val="1"/>
              </a:ext>
            </a:extLst>
          </p:cNvPr>
          <p:cNvSpPr/>
          <p:nvPr/>
        </p:nvSpPr>
        <p:spPr bwMode="auto">
          <a:xfrm>
            <a:off x="5527430" y="3006968"/>
            <a:ext cx="2482951" cy="1344439"/>
          </a:xfrm>
          <a:prstGeom prst="roundRect">
            <a:avLst>
              <a:gd name="adj" fmla="val 4163"/>
            </a:avLst>
          </a:prstGeom>
          <a:solidFill>
            <a:schemeClr val="bg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3B2E58"/>
              </a:solidFill>
              <a:effectLst/>
              <a:uLnTx/>
              <a:uFillTx/>
              <a:latin typeface="Segoe UI Semibold"/>
              <a:ea typeface="Segoe UI" pitchFamily="34" charset="0"/>
              <a:cs typeface="Segoe UI" pitchFamily="34" charset="0"/>
            </a:endParaRPr>
          </a:p>
        </p:txBody>
      </p:sp>
      <p:sp>
        <p:nvSpPr>
          <p:cNvPr id="54" name="Rectangle 53">
            <a:extLst>
              <a:ext uri="{FF2B5EF4-FFF2-40B4-BE49-F238E27FC236}">
                <a16:creationId xmlns:a16="http://schemas.microsoft.com/office/drawing/2014/main" id="{2DB4B707-D314-449A-AEB2-E1CA87566970}"/>
              </a:ext>
            </a:extLst>
          </p:cNvPr>
          <p:cNvSpPr/>
          <p:nvPr/>
        </p:nvSpPr>
        <p:spPr>
          <a:xfrm>
            <a:off x="7347864" y="3067915"/>
            <a:ext cx="561440" cy="1207476"/>
          </a:xfrm>
          <a:prstGeom prst="rect">
            <a:avLst/>
          </a:prstGeom>
          <a:solidFill>
            <a:schemeClr val="bg2"/>
          </a:solidFill>
          <a:ln w="19050">
            <a:no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vert="vert270"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Fetcher</a:t>
            </a:r>
            <a:endParaRPr kumimoji="0" lang="en-US" sz="1200" b="0" i="0" u="none" strike="noStrike" kern="1200" cap="none" spc="0" normalizeH="0" baseline="0" noProof="0">
              <a:ln>
                <a:noFill/>
              </a:ln>
              <a:solidFill>
                <a:srgbClr val="000000"/>
              </a:solidFill>
              <a:effectLst/>
              <a:uLnTx/>
              <a:uFillTx/>
              <a:latin typeface="Segoe UI"/>
              <a:ea typeface="+mn-ea"/>
              <a:cs typeface="Segoe UI"/>
            </a:endParaRPr>
          </a:p>
        </p:txBody>
      </p:sp>
      <p:sp>
        <p:nvSpPr>
          <p:cNvPr id="53" name="Rectangle 52">
            <a:extLst>
              <a:ext uri="{FF2B5EF4-FFF2-40B4-BE49-F238E27FC236}">
                <a16:creationId xmlns:a16="http://schemas.microsoft.com/office/drawing/2014/main" id="{F3731549-963B-4574-8B26-5B670C96EDEA}"/>
              </a:ext>
            </a:extLst>
          </p:cNvPr>
          <p:cNvSpPr/>
          <p:nvPr/>
        </p:nvSpPr>
        <p:spPr>
          <a:xfrm>
            <a:off x="6471522" y="3073696"/>
            <a:ext cx="616320" cy="1196306"/>
          </a:xfrm>
          <a:prstGeom prst="rect">
            <a:avLst/>
          </a:prstGeom>
          <a:solidFill>
            <a:schemeClr val="bg2"/>
          </a:solidFill>
          <a:ln w="19050">
            <a:no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vert="vert270"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Processor</a:t>
            </a:r>
            <a:endParaRPr kumimoji="0" lang="en-US" sz="1200" b="0" i="0" u="none" strike="noStrike" kern="1200" cap="none" spc="0" normalizeH="0" baseline="0" noProof="0">
              <a:ln>
                <a:noFill/>
              </a:ln>
              <a:solidFill>
                <a:srgbClr val="000000"/>
              </a:solidFill>
              <a:effectLst/>
              <a:uLnTx/>
              <a:uFillTx/>
              <a:latin typeface="Segoe UI"/>
              <a:ea typeface="+mn-ea"/>
              <a:cs typeface="Segoe UI"/>
            </a:endParaRPr>
          </a:p>
        </p:txBody>
      </p:sp>
      <p:sp>
        <p:nvSpPr>
          <p:cNvPr id="52" name="Rectangle 51">
            <a:extLst>
              <a:ext uri="{FF2B5EF4-FFF2-40B4-BE49-F238E27FC236}">
                <a16:creationId xmlns:a16="http://schemas.microsoft.com/office/drawing/2014/main" id="{247E5952-538A-432A-8AD9-FF6985047128}"/>
              </a:ext>
            </a:extLst>
          </p:cNvPr>
          <p:cNvSpPr/>
          <p:nvPr/>
        </p:nvSpPr>
        <p:spPr>
          <a:xfrm>
            <a:off x="5604938" y="3067917"/>
            <a:ext cx="578718" cy="1190142"/>
          </a:xfrm>
          <a:prstGeom prst="rect">
            <a:avLst/>
          </a:prstGeom>
          <a:solidFill>
            <a:schemeClr val="bg2"/>
          </a:solidFill>
          <a:ln w="19050">
            <a:no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vert="vert270"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Data Sync</a:t>
            </a:r>
            <a:endParaRPr kumimoji="0" lang="en-US" sz="1200" b="0" i="0" u="none" strike="noStrike" kern="1200" cap="none" spc="0" normalizeH="0" baseline="0" noProof="0">
              <a:ln>
                <a:noFill/>
              </a:ln>
              <a:solidFill>
                <a:srgbClr val="000000"/>
              </a:solidFill>
              <a:effectLst/>
              <a:uLnTx/>
              <a:uFillTx/>
              <a:latin typeface="Segoe UI"/>
              <a:ea typeface="+mn-ea"/>
              <a:cs typeface="Segoe UI"/>
            </a:endParaRPr>
          </a:p>
        </p:txBody>
      </p:sp>
      <p:sp>
        <p:nvSpPr>
          <p:cNvPr id="71" name="Arrow: Right 70">
            <a:extLst>
              <a:ext uri="{FF2B5EF4-FFF2-40B4-BE49-F238E27FC236}">
                <a16:creationId xmlns:a16="http://schemas.microsoft.com/office/drawing/2014/main" id="{4CEE1624-9FF3-4A49-B56C-807AC3D07EAB}"/>
              </a:ext>
              <a:ext uri="{C183D7F6-B498-43B3-948B-1728B52AA6E4}">
                <adec:decorative xmlns:adec="http://schemas.microsoft.com/office/drawing/2017/decorative" val="1"/>
              </a:ext>
            </a:extLst>
          </p:cNvPr>
          <p:cNvSpPr/>
          <p:nvPr/>
        </p:nvSpPr>
        <p:spPr>
          <a:xfrm rot="10800000">
            <a:off x="7100235" y="3674488"/>
            <a:ext cx="248986" cy="4506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2" name="Arrow: Right 71">
            <a:extLst>
              <a:ext uri="{FF2B5EF4-FFF2-40B4-BE49-F238E27FC236}">
                <a16:creationId xmlns:a16="http://schemas.microsoft.com/office/drawing/2014/main" id="{878484D4-6D2A-4E44-BC2E-8C40C8E6688C}"/>
              </a:ext>
              <a:ext uri="{C183D7F6-B498-43B3-948B-1728B52AA6E4}">
                <adec:decorative xmlns:adec="http://schemas.microsoft.com/office/drawing/2017/decorative" val="1"/>
              </a:ext>
            </a:extLst>
          </p:cNvPr>
          <p:cNvSpPr/>
          <p:nvPr/>
        </p:nvSpPr>
        <p:spPr>
          <a:xfrm rot="10800000">
            <a:off x="6188352" y="3652811"/>
            <a:ext cx="247606" cy="4506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6" name="TextBox 35">
            <a:extLst>
              <a:ext uri="{FF2B5EF4-FFF2-40B4-BE49-F238E27FC236}">
                <a16:creationId xmlns:a16="http://schemas.microsoft.com/office/drawing/2014/main" id="{09A15BA4-818D-D492-5519-2C5BE5A2A27C}"/>
              </a:ext>
            </a:extLst>
          </p:cNvPr>
          <p:cNvSpPr txBox="1"/>
          <p:nvPr/>
        </p:nvSpPr>
        <p:spPr>
          <a:xfrm>
            <a:off x="5613068" y="2667318"/>
            <a:ext cx="2403779" cy="338554"/>
          </a:xfrm>
          <a:prstGeom prst="rect">
            <a:avLst/>
          </a:prstGeom>
          <a:noFill/>
        </p:spPr>
        <p:txBody>
          <a:bodyPr wrap="square" lIns="0" tIns="45720" rIns="91440" bIns="45720" rtlCol="0" anchor="t">
            <a:spAutoFit/>
          </a:bodyPr>
          <a:lstStyle/>
          <a:p>
            <a:pPr marL="0" marR="0" lvl="0" indent="0" algn="ctr" defTabSz="913698"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107C10"/>
                </a:solidFill>
                <a:effectLst/>
                <a:uLnTx/>
                <a:uFillTx/>
                <a:latin typeface="Segoe UI Semibold"/>
                <a:ea typeface="+mn-ea"/>
                <a:cs typeface="Segoe UI Semibold"/>
              </a:rPr>
              <a:t>Out of Box Integrations</a:t>
            </a:r>
            <a:endParaRPr kumimoji="0" lang="en-US" sz="1600" b="0" i="0" u="none" strike="noStrike" kern="1200" cap="none" spc="0" normalizeH="0" baseline="0" noProof="0">
              <a:ln>
                <a:noFill/>
              </a:ln>
              <a:solidFill>
                <a:srgbClr val="107C10"/>
              </a:solidFill>
              <a:effectLst/>
              <a:uLnTx/>
              <a:uFillTx/>
              <a:latin typeface="Segoe UI Semibold"/>
              <a:ea typeface="+mn-ea"/>
              <a:cs typeface="+mn-cs"/>
            </a:endParaRPr>
          </a:p>
        </p:txBody>
      </p:sp>
      <p:sp>
        <p:nvSpPr>
          <p:cNvPr id="38" name="TextBox 37">
            <a:extLst>
              <a:ext uri="{FF2B5EF4-FFF2-40B4-BE49-F238E27FC236}">
                <a16:creationId xmlns:a16="http://schemas.microsoft.com/office/drawing/2014/main" id="{5CD02349-7DF6-C53B-98EC-B57062282058}"/>
              </a:ext>
            </a:extLst>
          </p:cNvPr>
          <p:cNvSpPr txBox="1"/>
          <p:nvPr/>
        </p:nvSpPr>
        <p:spPr>
          <a:xfrm>
            <a:off x="5525144" y="4349579"/>
            <a:ext cx="2415502" cy="338554"/>
          </a:xfrm>
          <a:prstGeom prst="rect">
            <a:avLst/>
          </a:prstGeom>
          <a:noFill/>
        </p:spPr>
        <p:txBody>
          <a:bodyPr wrap="square" lIns="0" tIns="45720" rIns="91440" bIns="45720" rtlCol="0" anchor="t">
            <a:spAutoFit/>
          </a:bodyPr>
          <a:lstStyle/>
          <a:p>
            <a:pPr marL="0" marR="0" lvl="0" indent="0" algn="ctr" defTabSz="913698"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107C10"/>
                </a:solidFill>
                <a:effectLst/>
                <a:uLnTx/>
                <a:uFillTx/>
                <a:latin typeface="Segoe UI Semibold"/>
                <a:ea typeface="+mn-ea"/>
                <a:cs typeface="Segoe UI Semibold"/>
              </a:rPr>
              <a:t>Graph APIs</a:t>
            </a:r>
            <a:endParaRPr kumimoji="0" lang="en-US" sz="1600" b="0" i="0" u="none" strike="noStrike" kern="1200" cap="none" spc="0" normalizeH="0" baseline="0" noProof="0">
              <a:ln>
                <a:noFill/>
              </a:ln>
              <a:solidFill>
                <a:srgbClr val="107C10"/>
              </a:solidFill>
              <a:effectLst/>
              <a:uLnTx/>
              <a:uFillTx/>
              <a:latin typeface="Segoe UI Semibold"/>
              <a:ea typeface="+mn-ea"/>
              <a:cs typeface="+mn-cs"/>
            </a:endParaRPr>
          </a:p>
        </p:txBody>
      </p:sp>
      <p:cxnSp>
        <p:nvCxnSpPr>
          <p:cNvPr id="37" name="Straight Arrow Connector 36">
            <a:extLst>
              <a:ext uri="{FF2B5EF4-FFF2-40B4-BE49-F238E27FC236}">
                <a16:creationId xmlns:a16="http://schemas.microsoft.com/office/drawing/2014/main" id="{572957A9-21F2-68BA-B256-F71E0E48A5EE}"/>
              </a:ext>
              <a:ext uri="{C183D7F6-B498-43B3-948B-1728B52AA6E4}">
                <adec:decorative xmlns:adec="http://schemas.microsoft.com/office/drawing/2017/decorative" val="1"/>
              </a:ext>
            </a:extLst>
          </p:cNvPr>
          <p:cNvCxnSpPr>
            <a:cxnSpLocks/>
          </p:cNvCxnSpPr>
          <p:nvPr/>
        </p:nvCxnSpPr>
        <p:spPr>
          <a:xfrm flipH="1">
            <a:off x="8127612" y="5331164"/>
            <a:ext cx="1111492" cy="0"/>
          </a:xfrm>
          <a:prstGeom prst="straightConnector1">
            <a:avLst/>
          </a:prstGeom>
          <a:ln w="19050">
            <a:solidFill>
              <a:schemeClr val="bg1">
                <a:lumMod val="75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D130413F-ADBF-66AA-C14E-6E94D2C5EC5B}"/>
              </a:ext>
              <a:ext uri="{C183D7F6-B498-43B3-948B-1728B52AA6E4}">
                <adec:decorative xmlns:adec="http://schemas.microsoft.com/office/drawing/2017/decorative" val="1"/>
              </a:ext>
            </a:extLst>
          </p:cNvPr>
          <p:cNvCxnSpPr>
            <a:cxnSpLocks/>
          </p:cNvCxnSpPr>
          <p:nvPr/>
        </p:nvCxnSpPr>
        <p:spPr>
          <a:xfrm flipH="1" flipV="1">
            <a:off x="4612433" y="4052093"/>
            <a:ext cx="739566" cy="4536"/>
          </a:xfrm>
          <a:prstGeom prst="straightConnector1">
            <a:avLst/>
          </a:prstGeom>
          <a:ln w="19050">
            <a:solidFill>
              <a:schemeClr val="bg1">
                <a:lumMod val="75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801F659E-ADBB-2A88-8B4E-EBAA422930FE}"/>
              </a:ext>
            </a:extLst>
          </p:cNvPr>
          <p:cNvSpPr txBox="1"/>
          <p:nvPr/>
        </p:nvSpPr>
        <p:spPr>
          <a:xfrm>
            <a:off x="8543471" y="3463472"/>
            <a:ext cx="280307" cy="18466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Pull</a:t>
            </a:r>
          </a:p>
        </p:txBody>
      </p:sp>
      <p:sp>
        <p:nvSpPr>
          <p:cNvPr id="40" name="TextBox 39">
            <a:extLst>
              <a:ext uri="{FF2B5EF4-FFF2-40B4-BE49-F238E27FC236}">
                <a16:creationId xmlns:a16="http://schemas.microsoft.com/office/drawing/2014/main" id="{7EF03125-1286-9C5E-0F1C-60813DE9C1FF}"/>
              </a:ext>
            </a:extLst>
          </p:cNvPr>
          <p:cNvSpPr txBox="1"/>
          <p:nvPr/>
        </p:nvSpPr>
        <p:spPr>
          <a:xfrm>
            <a:off x="8543470" y="5105400"/>
            <a:ext cx="393699" cy="18466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Push</a:t>
            </a:r>
          </a:p>
        </p:txBody>
      </p:sp>
      <p:sp>
        <p:nvSpPr>
          <p:cNvPr id="45" name="Rectangle 44">
            <a:extLst>
              <a:ext uri="{FF2B5EF4-FFF2-40B4-BE49-F238E27FC236}">
                <a16:creationId xmlns:a16="http://schemas.microsoft.com/office/drawing/2014/main" id="{612FC9C3-76FD-6B2A-C6DF-6C909197AA05}"/>
              </a:ext>
            </a:extLst>
          </p:cNvPr>
          <p:cNvSpPr/>
          <p:nvPr/>
        </p:nvSpPr>
        <p:spPr>
          <a:xfrm>
            <a:off x="5614008" y="4764273"/>
            <a:ext cx="578718" cy="1190142"/>
          </a:xfrm>
          <a:prstGeom prst="rect">
            <a:avLst/>
          </a:prstGeom>
          <a:solidFill>
            <a:schemeClr val="bg2"/>
          </a:solidFill>
          <a:ln w="19050">
            <a:no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vert="vert270"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Data Sync</a:t>
            </a:r>
            <a:endParaRPr kumimoji="0" lang="en-US" sz="1200" b="0" i="0" u="none" strike="noStrike" kern="1200" cap="none" spc="0" normalizeH="0" baseline="0" noProof="0">
              <a:ln>
                <a:noFill/>
              </a:ln>
              <a:solidFill>
                <a:srgbClr val="000000"/>
              </a:solidFill>
              <a:effectLst/>
              <a:uLnTx/>
              <a:uFillTx/>
              <a:latin typeface="Segoe UI"/>
              <a:ea typeface="+mn-ea"/>
              <a:cs typeface="Segoe UI"/>
            </a:endParaRPr>
          </a:p>
        </p:txBody>
      </p:sp>
      <p:sp>
        <p:nvSpPr>
          <p:cNvPr id="65" name="Arrow: Right 64">
            <a:extLst>
              <a:ext uri="{FF2B5EF4-FFF2-40B4-BE49-F238E27FC236}">
                <a16:creationId xmlns:a16="http://schemas.microsoft.com/office/drawing/2014/main" id="{2523EC3A-A9E6-4969-9BF7-046FEB1A1038}"/>
              </a:ext>
              <a:ext uri="{C183D7F6-B498-43B3-948B-1728B52AA6E4}">
                <adec:decorative xmlns:adec="http://schemas.microsoft.com/office/drawing/2017/decorative" val="1"/>
              </a:ext>
            </a:extLst>
          </p:cNvPr>
          <p:cNvSpPr/>
          <p:nvPr/>
        </p:nvSpPr>
        <p:spPr>
          <a:xfrm rot="10800000">
            <a:off x="6217954" y="5003229"/>
            <a:ext cx="252015" cy="4571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5" name="Rectangle 54">
            <a:extLst>
              <a:ext uri="{FF2B5EF4-FFF2-40B4-BE49-F238E27FC236}">
                <a16:creationId xmlns:a16="http://schemas.microsoft.com/office/drawing/2014/main" id="{84D48624-E27E-39A2-2786-38958C04FAB8}"/>
              </a:ext>
            </a:extLst>
          </p:cNvPr>
          <p:cNvSpPr/>
          <p:nvPr/>
        </p:nvSpPr>
        <p:spPr>
          <a:xfrm>
            <a:off x="6512100" y="4767502"/>
            <a:ext cx="1395897" cy="495856"/>
          </a:xfrm>
          <a:prstGeom prst="rect">
            <a:avLst/>
          </a:prstGeom>
          <a:solidFill>
            <a:schemeClr val="bg2"/>
          </a:solidFill>
          <a:ln w="19050">
            <a:no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Content sync APIs</a:t>
            </a:r>
          </a:p>
        </p:txBody>
      </p:sp>
      <p:sp>
        <p:nvSpPr>
          <p:cNvPr id="57" name="Rectangle 56">
            <a:extLst>
              <a:ext uri="{FF2B5EF4-FFF2-40B4-BE49-F238E27FC236}">
                <a16:creationId xmlns:a16="http://schemas.microsoft.com/office/drawing/2014/main" id="{F4BF85FD-A3BF-FEB3-5FDD-09945150ED9E}"/>
              </a:ext>
            </a:extLst>
          </p:cNvPr>
          <p:cNvSpPr/>
          <p:nvPr/>
        </p:nvSpPr>
        <p:spPr>
          <a:xfrm>
            <a:off x="6523645" y="5327455"/>
            <a:ext cx="1378579" cy="617083"/>
          </a:xfrm>
          <a:prstGeom prst="rect">
            <a:avLst/>
          </a:prstGeom>
          <a:solidFill>
            <a:schemeClr val="bg2"/>
          </a:solidFill>
          <a:ln w="19050">
            <a:no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Assignment &amp; Completion sync APIs</a:t>
            </a:r>
            <a:endParaRPr kumimoji="0" lang="en-US" sz="1200" b="0" i="0" u="none" strike="noStrike" kern="1200" cap="none" spc="0" normalizeH="0" baseline="0" noProof="0">
              <a:ln>
                <a:noFill/>
              </a:ln>
              <a:solidFill>
                <a:srgbClr val="000000"/>
              </a:solidFill>
              <a:effectLst/>
              <a:uLnTx/>
              <a:uFillTx/>
              <a:latin typeface="Segoe UI"/>
              <a:ea typeface="+mn-ea"/>
              <a:cs typeface="Segoe UI"/>
            </a:endParaRPr>
          </a:p>
        </p:txBody>
      </p:sp>
      <p:sp>
        <p:nvSpPr>
          <p:cNvPr id="58" name="Arrow: Right 57">
            <a:extLst>
              <a:ext uri="{FF2B5EF4-FFF2-40B4-BE49-F238E27FC236}">
                <a16:creationId xmlns:a16="http://schemas.microsoft.com/office/drawing/2014/main" id="{E19A4169-E3AF-C5B0-48C1-C33C945A1AD6}"/>
              </a:ext>
              <a:ext uri="{C183D7F6-B498-43B3-948B-1728B52AA6E4}">
                <adec:decorative xmlns:adec="http://schemas.microsoft.com/office/drawing/2017/decorative" val="1"/>
              </a:ext>
            </a:extLst>
          </p:cNvPr>
          <p:cNvSpPr/>
          <p:nvPr/>
        </p:nvSpPr>
        <p:spPr>
          <a:xfrm rot="10800000">
            <a:off x="6217954" y="5568956"/>
            <a:ext cx="252015" cy="4571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8" name="Picture 8" descr="Graphical user interface, website&#10;&#10;Description automatically generated">
            <a:extLst>
              <a:ext uri="{FF2B5EF4-FFF2-40B4-BE49-F238E27FC236}">
                <a16:creationId xmlns:a16="http://schemas.microsoft.com/office/drawing/2014/main" id="{6A312673-688B-3E7F-2A0F-2FF85789786E}"/>
              </a:ext>
            </a:extLst>
          </p:cNvPr>
          <p:cNvPicPr>
            <a:picLocks noChangeAspect="1"/>
          </p:cNvPicPr>
          <p:nvPr/>
        </p:nvPicPr>
        <p:blipFill>
          <a:blip r:embed="rId4"/>
          <a:stretch>
            <a:fillRect/>
          </a:stretch>
        </p:blipFill>
        <p:spPr>
          <a:xfrm>
            <a:off x="937038" y="1867556"/>
            <a:ext cx="3308630" cy="1887826"/>
          </a:xfrm>
          <a:prstGeom prst="rect">
            <a:avLst/>
          </a:prstGeom>
        </p:spPr>
      </p:pic>
      <p:pic>
        <p:nvPicPr>
          <p:cNvPr id="10" name="Picture 6" descr="Graphical user interface, website&#10;&#10;Description automatically generated">
            <a:extLst>
              <a:ext uri="{FF2B5EF4-FFF2-40B4-BE49-F238E27FC236}">
                <a16:creationId xmlns:a16="http://schemas.microsoft.com/office/drawing/2014/main" id="{17878695-06C2-377F-CC15-B936473FC868}"/>
              </a:ext>
            </a:extLst>
          </p:cNvPr>
          <p:cNvPicPr>
            <a:picLocks noChangeAspect="1"/>
          </p:cNvPicPr>
          <p:nvPr/>
        </p:nvPicPr>
        <p:blipFill>
          <a:blip r:embed="rId5"/>
          <a:stretch>
            <a:fillRect/>
          </a:stretch>
        </p:blipFill>
        <p:spPr>
          <a:xfrm>
            <a:off x="937512" y="4152847"/>
            <a:ext cx="3193240" cy="1791972"/>
          </a:xfrm>
          <a:prstGeom prst="rect">
            <a:avLst/>
          </a:prstGeom>
        </p:spPr>
      </p:pic>
      <p:pic>
        <p:nvPicPr>
          <p:cNvPr id="6" name="Graphic 5">
            <a:extLst>
              <a:ext uri="{FF2B5EF4-FFF2-40B4-BE49-F238E27FC236}">
                <a16:creationId xmlns:a16="http://schemas.microsoft.com/office/drawing/2014/main" id="{45B353AE-437D-529D-B6A3-C5DBD5606AB3}"/>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019489" y="325133"/>
            <a:ext cx="1043903" cy="861775"/>
          </a:xfrm>
          <a:prstGeom prst="rect">
            <a:avLst/>
          </a:prstGeom>
        </p:spPr>
      </p:pic>
    </p:spTree>
    <p:extLst>
      <p:ext uri="{BB962C8B-B14F-4D97-AF65-F5344CB8AC3E}">
        <p14:creationId xmlns:p14="http://schemas.microsoft.com/office/powerpoint/2010/main" val="2619299031"/>
      </p:ext>
    </p:extLst>
  </p:cSld>
  <p:clrMapOvr>
    <a:masterClrMapping/>
  </p:clrMapOvr>
  <p:transition>
    <p:fade/>
  </p:transition>
  <p:extLst>
    <p:ext uri="{6950BFC3-D8DA-4A85-94F7-54DA5524770B}">
      <p188:commentRel xmlns:p188="http://schemas.microsoft.com/office/powerpoint/2018/8/main" r:id="rId3"/>
    </p:ext>
  </p:extLs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FE2809FC-BD5F-46F2-855C-106A1AFA9DE9}"/>
              </a:ext>
            </a:extLst>
          </p:cNvPr>
          <p:cNvSpPr/>
          <p:nvPr/>
        </p:nvSpPr>
        <p:spPr>
          <a:xfrm>
            <a:off x="8343660" y="2283797"/>
            <a:ext cx="3405399" cy="4259596"/>
          </a:xfrm>
          <a:prstGeom prst="roundRect">
            <a:avLst>
              <a:gd name="adj" fmla="val 4109"/>
            </a:avLst>
          </a:prstGeom>
          <a:solidFill>
            <a:srgbClr val="FFFFFF"/>
          </a:solidFill>
          <a:ln>
            <a:noFill/>
          </a:ln>
          <a:effectLst>
            <a:outerShdw blurRad="152400" dist="25400" dir="3720000" sx="101000" sy="101000" algn="tl" rotWithShape="0">
              <a:prstClr val="black">
                <a:alpha val="3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 name="Rectangle: Rounded Corners 8">
            <a:extLst>
              <a:ext uri="{FF2B5EF4-FFF2-40B4-BE49-F238E27FC236}">
                <a16:creationId xmlns:a16="http://schemas.microsoft.com/office/drawing/2014/main" id="{A0EC09DA-73C2-4F15-B045-BEA5BF8A68F0}"/>
              </a:ext>
            </a:extLst>
          </p:cNvPr>
          <p:cNvSpPr/>
          <p:nvPr/>
        </p:nvSpPr>
        <p:spPr>
          <a:xfrm>
            <a:off x="4439969" y="2292542"/>
            <a:ext cx="3680030" cy="4289282"/>
          </a:xfrm>
          <a:prstGeom prst="roundRect">
            <a:avLst>
              <a:gd name="adj" fmla="val 4109"/>
            </a:avLst>
          </a:prstGeom>
          <a:solidFill>
            <a:srgbClr val="FFFFFF"/>
          </a:solidFill>
          <a:ln>
            <a:noFill/>
          </a:ln>
          <a:effectLst>
            <a:outerShdw blurRad="152400" dist="25400" dir="3720000" sx="101000" sy="101000" algn="tl" rotWithShape="0">
              <a:prstClr val="black">
                <a:alpha val="3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3" name="Rectangle: Rounded Corners 22">
            <a:extLst>
              <a:ext uri="{FF2B5EF4-FFF2-40B4-BE49-F238E27FC236}">
                <a16:creationId xmlns:a16="http://schemas.microsoft.com/office/drawing/2014/main" id="{E766498F-908C-49E4-841B-F65FF6F55562}"/>
              </a:ext>
            </a:extLst>
          </p:cNvPr>
          <p:cNvSpPr/>
          <p:nvPr/>
        </p:nvSpPr>
        <p:spPr>
          <a:xfrm>
            <a:off x="588263" y="2288089"/>
            <a:ext cx="3617160" cy="4332166"/>
          </a:xfrm>
          <a:prstGeom prst="roundRect">
            <a:avLst>
              <a:gd name="adj" fmla="val 4109"/>
            </a:avLst>
          </a:prstGeom>
          <a:solidFill>
            <a:srgbClr val="FFFFFF"/>
          </a:solidFill>
          <a:ln>
            <a:noFill/>
          </a:ln>
          <a:effectLst>
            <a:outerShdw blurRad="152400" dist="25400" dir="3720000" sx="101000" sy="101000" algn="tl" rotWithShape="0">
              <a:prstClr val="black">
                <a:alpha val="3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52" name="TextBox 151">
            <a:extLst>
              <a:ext uri="{FF2B5EF4-FFF2-40B4-BE49-F238E27FC236}">
                <a16:creationId xmlns:a16="http://schemas.microsoft.com/office/drawing/2014/main" id="{F38A75FB-2410-4226-9FA8-625ED151A242}"/>
              </a:ext>
            </a:extLst>
          </p:cNvPr>
          <p:cNvSpPr txBox="1"/>
          <p:nvPr/>
        </p:nvSpPr>
        <p:spPr>
          <a:xfrm>
            <a:off x="5101829" y="1610302"/>
            <a:ext cx="817088" cy="192402"/>
          </a:xfrm>
          <a:prstGeom prst="rect">
            <a:avLst/>
          </a:prstGeom>
          <a:noFill/>
        </p:spPr>
        <p:txBody>
          <a:bodyPr wrap="none" lIns="182880" tIns="0" rIns="365760" bIns="0" rtlCol="0" anchor="t">
            <a:noAutofit/>
          </a:bodyPr>
          <a:lstStyle/>
          <a:p>
            <a:pPr marL="0" marR="0" lvl="0" indent="0" algn="l" defTabSz="931955" rtl="0" eaLnBrk="1" fontAlgn="auto" latinLnBrk="0" hangingPunct="1">
              <a:lnSpc>
                <a:spcPct val="90000"/>
              </a:lnSpc>
              <a:spcBef>
                <a:spcPts val="0"/>
              </a:spcBef>
              <a:spcAft>
                <a:spcPts val="400"/>
              </a:spcAft>
              <a:buClrTx/>
              <a:buSzTx/>
              <a:buFontTx/>
              <a:buNone/>
              <a:tabLst/>
              <a:defRPr/>
            </a:pPr>
            <a:r>
              <a:rPr kumimoji="0" lang="en-US" sz="1600" b="0" i="0" u="none" strike="noStrike" kern="1200" cap="none" spc="0" normalizeH="0" baseline="0" noProof="0">
                <a:ln>
                  <a:noFill/>
                </a:ln>
                <a:solidFill>
                  <a:srgbClr val="1A1A1A"/>
                </a:solidFill>
                <a:effectLst/>
                <a:uLnTx/>
                <a:uFillTx/>
                <a:latin typeface="Segoe UI Semibold"/>
                <a:ea typeface="+mn-ea"/>
                <a:cs typeface="+mn-cs"/>
              </a:rPr>
              <a:t>Assignment sync API</a:t>
            </a:r>
          </a:p>
        </p:txBody>
      </p:sp>
      <p:sp>
        <p:nvSpPr>
          <p:cNvPr id="151" name="TextBox 150">
            <a:extLst>
              <a:ext uri="{FF2B5EF4-FFF2-40B4-BE49-F238E27FC236}">
                <a16:creationId xmlns:a16="http://schemas.microsoft.com/office/drawing/2014/main" id="{67A37E36-F887-4645-8A29-3064CECFFC87}"/>
              </a:ext>
            </a:extLst>
          </p:cNvPr>
          <p:cNvSpPr txBox="1"/>
          <p:nvPr/>
        </p:nvSpPr>
        <p:spPr>
          <a:xfrm>
            <a:off x="1299791" y="1610302"/>
            <a:ext cx="921915" cy="384809"/>
          </a:xfrm>
          <a:prstGeom prst="rect">
            <a:avLst/>
          </a:prstGeom>
          <a:noFill/>
        </p:spPr>
        <p:txBody>
          <a:bodyPr wrap="none" lIns="182880" tIns="0" rIns="365760" bIns="0" rtlCol="0" anchor="t">
            <a:noAutofit/>
          </a:bodyPr>
          <a:lstStyle/>
          <a:p>
            <a:pPr marL="0" marR="0" lvl="0" indent="0" algn="l" defTabSz="931955" rtl="0" eaLnBrk="1" fontAlgn="auto" latinLnBrk="0" hangingPunct="1">
              <a:lnSpc>
                <a:spcPct val="90000"/>
              </a:lnSpc>
              <a:spcBef>
                <a:spcPts val="0"/>
              </a:spcBef>
              <a:spcAft>
                <a:spcPts val="400"/>
              </a:spcAft>
              <a:buClrTx/>
              <a:buSzTx/>
              <a:buFontTx/>
              <a:buNone/>
              <a:tabLst/>
              <a:defRPr/>
            </a:pPr>
            <a:r>
              <a:rPr kumimoji="0" lang="en-US" sz="1600" b="0" i="0" u="none" strike="noStrike" kern="1200" cap="none" spc="0" normalizeH="0" baseline="0" noProof="0">
                <a:ln>
                  <a:noFill/>
                </a:ln>
                <a:solidFill>
                  <a:srgbClr val="1A1A1A"/>
                </a:solidFill>
                <a:effectLst/>
                <a:uLnTx/>
                <a:uFillTx/>
                <a:latin typeface="Segoe UI Semibold"/>
                <a:ea typeface="+mn-ea"/>
                <a:cs typeface="+mn-cs"/>
              </a:rPr>
              <a:t>Content Sync API</a:t>
            </a:r>
          </a:p>
        </p:txBody>
      </p:sp>
      <p:graphicFrame>
        <p:nvGraphicFramePr>
          <p:cNvPr id="94" name="Table 93">
            <a:extLst>
              <a:ext uri="{FF2B5EF4-FFF2-40B4-BE49-F238E27FC236}">
                <a16:creationId xmlns:a16="http://schemas.microsoft.com/office/drawing/2014/main" id="{620F9808-021E-4D3E-9906-E35B6375A37D}"/>
              </a:ext>
            </a:extLst>
          </p:cNvPr>
          <p:cNvGraphicFramePr>
            <a:graphicFrameLocks noGrp="1"/>
          </p:cNvGraphicFramePr>
          <p:nvPr/>
        </p:nvGraphicFramePr>
        <p:xfrm>
          <a:off x="766219" y="2788260"/>
          <a:ext cx="3319794" cy="3261344"/>
        </p:xfrm>
        <a:graphic>
          <a:graphicData uri="http://schemas.openxmlformats.org/drawingml/2006/table">
            <a:tbl>
              <a:tblPr>
                <a:tableStyleId>{5C22544A-7EE6-4342-B048-85BDC9FD1C3A}</a:tableStyleId>
              </a:tblPr>
              <a:tblGrid>
                <a:gridCol w="3319794">
                  <a:extLst>
                    <a:ext uri="{9D8B030D-6E8A-4147-A177-3AD203B41FA5}">
                      <a16:colId xmlns:a16="http://schemas.microsoft.com/office/drawing/2014/main" val="1715380854"/>
                    </a:ext>
                  </a:extLst>
                </a:gridCol>
              </a:tblGrid>
              <a:tr h="1630220">
                <a:tc>
                  <a:txBody>
                    <a:bodyPr/>
                    <a:lstStyle/>
                    <a:p>
                      <a:pPr marL="0" indent="0" algn="l" rtl="0" eaLnBrk="1" latinLnBrk="0" hangingPunct="1">
                        <a:spcAft>
                          <a:spcPts val="0"/>
                        </a:spcAft>
                      </a:pPr>
                      <a:r>
                        <a:rPr lang="en-US" sz="1300" b="1" kern="1200">
                          <a:solidFill>
                            <a:srgbClr val="000000"/>
                          </a:solidFill>
                          <a:latin typeface="+mj-lt"/>
                          <a:ea typeface="+mn-ea"/>
                          <a:cs typeface="+mn-cs"/>
                        </a:rPr>
                        <a:t>Provider Registration</a:t>
                      </a:r>
                    </a:p>
                    <a:p>
                      <a:pPr marL="0" lvl="0" indent="0" algn="l">
                        <a:spcAft>
                          <a:spcPts val="0"/>
                        </a:spcAft>
                        <a:buNone/>
                      </a:pPr>
                      <a:r>
                        <a:rPr lang="en-US" sz="1300" b="0" kern="1200">
                          <a:solidFill>
                            <a:srgbClr val="000000"/>
                          </a:solidFill>
                          <a:latin typeface="+mn-lt"/>
                          <a:ea typeface="+mn-ea"/>
                          <a:cs typeface="+mn-cs"/>
                        </a:rPr>
                        <a:t>Register the learning provider. You can enable/disable and update the provider. Use the registration id for content ingestion.</a:t>
                      </a:r>
                    </a:p>
                    <a:p>
                      <a:pPr marL="0" lvl="0" indent="0" algn="l">
                        <a:spcAft>
                          <a:spcPts val="0"/>
                        </a:spcAft>
                        <a:buNone/>
                      </a:pPr>
                      <a:endParaRPr lang="en-US" sz="1300" b="1" kern="1200">
                        <a:solidFill>
                          <a:srgbClr val="000000"/>
                        </a:solidFill>
                        <a:latin typeface="+mj-lt"/>
                        <a:ea typeface="+mn-ea"/>
                        <a:cs typeface="+mn-cs"/>
                      </a:endParaRPr>
                    </a:p>
                    <a:p>
                      <a:pPr marL="0" lvl="0" indent="0" algn="l">
                        <a:spcAft>
                          <a:spcPts val="0"/>
                        </a:spcAft>
                        <a:buNone/>
                      </a:pPr>
                      <a:r>
                        <a:rPr lang="en-US" sz="1300" b="1" kern="1200">
                          <a:solidFill>
                            <a:srgbClr val="000000"/>
                          </a:solidFill>
                          <a:latin typeface="+mj-lt"/>
                          <a:ea typeface="+mn-ea"/>
                          <a:cs typeface="+mn-cs"/>
                        </a:rPr>
                        <a:t>Ingest</a:t>
                      </a:r>
                    </a:p>
                    <a:p>
                      <a:pPr marL="0" lvl="0" indent="0" algn="l">
                        <a:spcAft>
                          <a:spcPts val="0"/>
                        </a:spcAft>
                        <a:buNone/>
                      </a:pPr>
                      <a:r>
                        <a:rPr lang="en-US" sz="1300" b="0" kern="1200">
                          <a:solidFill>
                            <a:srgbClr val="000000"/>
                          </a:solidFill>
                          <a:latin typeface="+mn-lt"/>
                          <a:ea typeface="+mn-ea"/>
                          <a:cs typeface="+mn-cs"/>
                        </a:rPr>
                        <a:t>Ingest the learning content with metadata.</a:t>
                      </a:r>
                    </a:p>
                    <a:p>
                      <a:pPr marL="0" lvl="0" indent="0" algn="l">
                        <a:spcAft>
                          <a:spcPts val="0"/>
                        </a:spcAft>
                        <a:buNone/>
                      </a:pPr>
                      <a:endParaRPr lang="en-US" sz="1300" b="1" kern="1200">
                        <a:solidFill>
                          <a:srgbClr val="000000"/>
                        </a:solidFill>
                        <a:latin typeface="+mj-lt"/>
                        <a:ea typeface="+mn-ea"/>
                        <a:cs typeface="+mn-cs"/>
                      </a:endParaRPr>
                    </a:p>
                    <a:p>
                      <a:pPr marL="0" lvl="0" indent="0" algn="l">
                        <a:spcAft>
                          <a:spcPts val="0"/>
                        </a:spcAft>
                        <a:buNone/>
                      </a:pPr>
                      <a:r>
                        <a:rPr lang="en-US" sz="1300" b="1" kern="1200">
                          <a:solidFill>
                            <a:srgbClr val="000000"/>
                          </a:solidFill>
                          <a:latin typeface="+mj-lt"/>
                          <a:ea typeface="+mn-ea"/>
                          <a:cs typeface="+mn-cs"/>
                        </a:rPr>
                        <a:t>Update</a:t>
                      </a:r>
                    </a:p>
                    <a:p>
                      <a:pPr marL="0" lvl="0" indent="0" algn="l">
                        <a:spcAft>
                          <a:spcPts val="0"/>
                        </a:spcAft>
                        <a:buNone/>
                      </a:pPr>
                      <a:r>
                        <a:rPr lang="en-US" sz="1300" b="0" kern="1200">
                          <a:solidFill>
                            <a:srgbClr val="000000"/>
                          </a:solidFill>
                          <a:latin typeface="+mn-lt"/>
                          <a:ea typeface="+mn-ea"/>
                          <a:cs typeface="+mn-cs"/>
                        </a:rPr>
                        <a:t>Update the ingested learning content.</a:t>
                      </a:r>
                    </a:p>
                    <a:p>
                      <a:pPr marL="0" lvl="0" indent="0" algn="l">
                        <a:spcAft>
                          <a:spcPts val="0"/>
                        </a:spcAft>
                        <a:buNone/>
                      </a:pPr>
                      <a:endParaRPr lang="en-US" sz="1300" b="1" kern="1200">
                        <a:solidFill>
                          <a:srgbClr val="000000"/>
                        </a:solidFill>
                        <a:latin typeface="+mj-lt"/>
                        <a:ea typeface="+mn-ea"/>
                        <a:cs typeface="+mn-cs"/>
                      </a:endParaRPr>
                    </a:p>
                    <a:p>
                      <a:pPr marL="0" lvl="0" indent="0" algn="l">
                        <a:spcAft>
                          <a:spcPts val="0"/>
                        </a:spcAft>
                        <a:buNone/>
                      </a:pPr>
                      <a:r>
                        <a:rPr lang="en-US" sz="1300" b="1" kern="1200">
                          <a:solidFill>
                            <a:srgbClr val="000000"/>
                          </a:solidFill>
                          <a:latin typeface="+mj-lt"/>
                          <a:ea typeface="+mn-ea"/>
                          <a:cs typeface="+mn-cs"/>
                        </a:rPr>
                        <a:t>Delete</a:t>
                      </a:r>
                    </a:p>
                    <a:p>
                      <a:pPr marL="0" lvl="0" indent="0" algn="l">
                        <a:spcAft>
                          <a:spcPts val="0"/>
                        </a:spcAft>
                        <a:buNone/>
                      </a:pPr>
                      <a:r>
                        <a:rPr lang="en-US" sz="1300" b="0" i="0" u="none" strike="noStrike" kern="1200" noProof="0">
                          <a:solidFill>
                            <a:srgbClr val="000000"/>
                          </a:solidFill>
                          <a:latin typeface="Segoe UI"/>
                        </a:rPr>
                        <a:t>Delete the ingested learning content.</a:t>
                      </a:r>
                      <a:endParaRPr lang="en-US"/>
                    </a:p>
                    <a:p>
                      <a:pPr marL="0" lvl="0" indent="0" algn="l">
                        <a:spcAft>
                          <a:spcPts val="0"/>
                        </a:spcAft>
                        <a:buNone/>
                      </a:pPr>
                      <a:endParaRPr lang="en-US" sz="1300" b="1" kern="1200">
                        <a:solidFill>
                          <a:srgbClr val="000000"/>
                        </a:solidFill>
                        <a:latin typeface="+mj-lt"/>
                        <a:ea typeface="+mn-ea"/>
                        <a:cs typeface="+mn-cs"/>
                      </a:endParaRPr>
                    </a:p>
                    <a:p>
                      <a:pPr marL="0" lvl="0" indent="0" algn="l">
                        <a:spcAft>
                          <a:spcPts val="0"/>
                        </a:spcAft>
                        <a:buNone/>
                      </a:pPr>
                      <a:r>
                        <a:rPr lang="en-US" sz="1300" b="1" kern="1200">
                          <a:solidFill>
                            <a:srgbClr val="000000"/>
                          </a:solidFill>
                          <a:latin typeface="+mj-lt"/>
                          <a:ea typeface="+mn-ea"/>
                          <a:cs typeface="+mn-cs"/>
                        </a:rPr>
                        <a:t>Get</a:t>
                      </a:r>
                    </a:p>
                    <a:p>
                      <a:pPr marL="0" lvl="0" indent="0" algn="l">
                        <a:spcAft>
                          <a:spcPts val="0"/>
                        </a:spcAft>
                        <a:buNone/>
                      </a:pPr>
                      <a:r>
                        <a:rPr lang="en-US" sz="1300" b="0" i="0" u="none" strike="noStrike" kern="1200" noProof="0">
                          <a:solidFill>
                            <a:srgbClr val="000000"/>
                          </a:solidFill>
                          <a:latin typeface="Segoe UI"/>
                        </a:rPr>
                        <a:t>Read the ingested learning content.</a:t>
                      </a:r>
                      <a:endParaRPr lang="en-US"/>
                    </a:p>
                  </a:txBody>
                  <a:tcPr marL="0" marR="91426" marT="45712" marB="45712">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98794221"/>
                  </a:ext>
                </a:extLst>
              </a:tr>
            </a:tbl>
          </a:graphicData>
        </a:graphic>
      </p:graphicFrame>
      <p:sp>
        <p:nvSpPr>
          <p:cNvPr id="3" name="Title 2">
            <a:extLst>
              <a:ext uri="{FF2B5EF4-FFF2-40B4-BE49-F238E27FC236}">
                <a16:creationId xmlns:a16="http://schemas.microsoft.com/office/drawing/2014/main" id="{5C498C3F-26B8-4B0A-AED1-8BB808886138}"/>
              </a:ext>
            </a:extLst>
          </p:cNvPr>
          <p:cNvSpPr>
            <a:spLocks noGrp="1"/>
          </p:cNvSpPr>
          <p:nvPr>
            <p:ph type="title"/>
          </p:nvPr>
        </p:nvSpPr>
        <p:spPr/>
        <p:txBody>
          <a:bodyPr>
            <a:normAutofit/>
          </a:bodyPr>
          <a:lstStyle/>
          <a:p>
            <a:pPr lvl="0"/>
            <a:r>
              <a:rPr lang="en-US" b="1" spc="0">
                <a:ln>
                  <a:noFill/>
                </a:ln>
                <a:solidFill>
                  <a:srgbClr val="107C10"/>
                </a:solidFill>
                <a:latin typeface="Segoe UI Semibold"/>
                <a:cs typeface="Segoe UI Semibold"/>
              </a:rPr>
              <a:t>Viva Learning Graph APIs</a:t>
            </a:r>
          </a:p>
        </p:txBody>
      </p:sp>
      <p:sp>
        <p:nvSpPr>
          <p:cNvPr id="127" name="Oval 126">
            <a:extLst>
              <a:ext uri="{FF2B5EF4-FFF2-40B4-BE49-F238E27FC236}">
                <a16:creationId xmlns:a16="http://schemas.microsoft.com/office/drawing/2014/main" id="{160B7FB1-74C4-48AE-B1E7-32029FAB33CF}"/>
              </a:ext>
            </a:extLst>
          </p:cNvPr>
          <p:cNvSpPr/>
          <p:nvPr/>
        </p:nvSpPr>
        <p:spPr bwMode="auto">
          <a:xfrm>
            <a:off x="588263" y="1367456"/>
            <a:ext cx="755184" cy="755184"/>
          </a:xfrm>
          <a:prstGeom prst="ellipse">
            <a:avLst/>
          </a:prstGeom>
          <a:solidFill>
            <a:srgbClr val="008272"/>
          </a:solidFill>
          <a:ln w="63500" cap="flat">
            <a:noFill/>
            <a:prstDash val="solid"/>
            <a:miter/>
          </a:ln>
          <a:effectLst>
            <a:outerShdw blurRad="88900" dist="25400" dir="2700000" sx="102000" sy="102000" algn="ctr" rotWithShape="0">
              <a:prstClr val="black">
                <a:alpha val="30000"/>
              </a:prstClr>
            </a:outerShdw>
          </a:effectLst>
        </p:spPr>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10000"/>
              </a:lnSpc>
              <a:spcBef>
                <a:spcPts val="0"/>
              </a:spcBef>
              <a:spcAft>
                <a:spcPct val="0"/>
              </a:spcAft>
              <a:buClrTx/>
              <a:buSzTx/>
              <a:buFontTx/>
              <a:buNone/>
              <a:tabLst/>
              <a:defRPr/>
            </a:pPr>
            <a:endParaRPr kumimoji="0" lang="en-US" sz="1200"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mn-ea"/>
              <a:cs typeface="Segoe UI" pitchFamily="34" charset="0"/>
            </a:endParaRPr>
          </a:p>
        </p:txBody>
      </p:sp>
      <p:sp>
        <p:nvSpPr>
          <p:cNvPr id="129" name="Oval 128">
            <a:extLst>
              <a:ext uri="{FF2B5EF4-FFF2-40B4-BE49-F238E27FC236}">
                <a16:creationId xmlns:a16="http://schemas.microsoft.com/office/drawing/2014/main" id="{287F6A92-36B8-444B-91E4-49C98C811ABE}"/>
              </a:ext>
            </a:extLst>
          </p:cNvPr>
          <p:cNvSpPr/>
          <p:nvPr/>
        </p:nvSpPr>
        <p:spPr bwMode="auto">
          <a:xfrm>
            <a:off x="4376806" y="1367456"/>
            <a:ext cx="755184" cy="755184"/>
          </a:xfrm>
          <a:prstGeom prst="ellipse">
            <a:avLst/>
          </a:prstGeom>
          <a:solidFill>
            <a:srgbClr val="008272"/>
          </a:solidFill>
          <a:ln w="63500" cap="flat">
            <a:noFill/>
            <a:prstDash val="solid"/>
            <a:miter/>
          </a:ln>
          <a:effectLst>
            <a:outerShdw blurRad="88900" dist="25400" dir="2700000" sx="102000" sy="102000" algn="ctr" rotWithShape="0">
              <a:prstClr val="black">
                <a:alpha val="30000"/>
              </a:prstClr>
            </a:outerShdw>
          </a:effectLst>
        </p:spPr>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10000"/>
              </a:lnSpc>
              <a:spcBef>
                <a:spcPts val="0"/>
              </a:spcBef>
              <a:spcAft>
                <a:spcPct val="0"/>
              </a:spcAft>
              <a:buClrTx/>
              <a:buSzTx/>
              <a:buFontTx/>
              <a:buNone/>
              <a:tabLst/>
              <a:defRPr/>
            </a:pPr>
            <a:r>
              <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mn-ea"/>
                <a:cs typeface="Segoe UI" pitchFamily="34" charset="0"/>
              </a:rPr>
              <a:t> </a:t>
            </a:r>
          </a:p>
        </p:txBody>
      </p:sp>
      <p:sp>
        <p:nvSpPr>
          <p:cNvPr id="16" name="TextBox 15">
            <a:extLst>
              <a:ext uri="{FF2B5EF4-FFF2-40B4-BE49-F238E27FC236}">
                <a16:creationId xmlns:a16="http://schemas.microsoft.com/office/drawing/2014/main" id="{C63A28AF-ABAD-4FF1-95EF-3717CAD7C658}"/>
              </a:ext>
            </a:extLst>
          </p:cNvPr>
          <p:cNvSpPr txBox="1"/>
          <p:nvPr/>
        </p:nvSpPr>
        <p:spPr>
          <a:xfrm>
            <a:off x="9014967" y="1610302"/>
            <a:ext cx="817088" cy="192402"/>
          </a:xfrm>
          <a:prstGeom prst="rect">
            <a:avLst/>
          </a:prstGeom>
          <a:noFill/>
        </p:spPr>
        <p:txBody>
          <a:bodyPr wrap="none" lIns="182880" tIns="0" rIns="365760" bIns="0" rtlCol="0" anchor="t">
            <a:noAutofit/>
          </a:bodyPr>
          <a:lstStyle/>
          <a:p>
            <a:pPr marL="0" marR="0" lvl="0" indent="0" algn="l" defTabSz="931955" rtl="0" eaLnBrk="1" fontAlgn="auto" latinLnBrk="0" hangingPunct="1">
              <a:lnSpc>
                <a:spcPct val="90000"/>
              </a:lnSpc>
              <a:spcBef>
                <a:spcPts val="0"/>
              </a:spcBef>
              <a:spcAft>
                <a:spcPts val="400"/>
              </a:spcAft>
              <a:buClrTx/>
              <a:buSzTx/>
              <a:buFontTx/>
              <a:buNone/>
              <a:tabLst/>
              <a:defRPr/>
            </a:pPr>
            <a:r>
              <a:rPr kumimoji="0" lang="en-US" sz="1600" b="0" i="0" u="none" strike="noStrike" kern="1200" cap="none" spc="0" normalizeH="0" baseline="0" noProof="0">
                <a:ln>
                  <a:noFill/>
                </a:ln>
                <a:solidFill>
                  <a:srgbClr val="1A1A1A"/>
                </a:solidFill>
                <a:effectLst/>
                <a:uLnTx/>
                <a:uFillTx/>
                <a:latin typeface="Segoe UI Semibold"/>
                <a:ea typeface="+mn-ea"/>
                <a:cs typeface="+mn-cs"/>
              </a:rPr>
              <a:t>Completion sync API</a:t>
            </a:r>
          </a:p>
        </p:txBody>
      </p:sp>
      <p:graphicFrame>
        <p:nvGraphicFramePr>
          <p:cNvPr id="4" name="Table 3">
            <a:extLst>
              <a:ext uri="{FF2B5EF4-FFF2-40B4-BE49-F238E27FC236}">
                <a16:creationId xmlns:a16="http://schemas.microsoft.com/office/drawing/2014/main" id="{AF636789-9AE9-412C-ABD8-DD20A0DC92DE}"/>
              </a:ext>
            </a:extLst>
          </p:cNvPr>
          <p:cNvGraphicFramePr>
            <a:graphicFrameLocks noGrp="1"/>
          </p:cNvGraphicFramePr>
          <p:nvPr/>
        </p:nvGraphicFramePr>
        <p:xfrm>
          <a:off x="8465292" y="2799772"/>
          <a:ext cx="3227700" cy="3459464"/>
        </p:xfrm>
        <a:graphic>
          <a:graphicData uri="http://schemas.openxmlformats.org/drawingml/2006/table">
            <a:tbl>
              <a:tblPr>
                <a:tableStyleId>{5C22544A-7EE6-4342-B048-85BDC9FD1C3A}</a:tableStyleId>
              </a:tblPr>
              <a:tblGrid>
                <a:gridCol w="3227700">
                  <a:extLst>
                    <a:ext uri="{9D8B030D-6E8A-4147-A177-3AD203B41FA5}">
                      <a16:colId xmlns:a16="http://schemas.microsoft.com/office/drawing/2014/main" val="3077654118"/>
                    </a:ext>
                  </a:extLst>
                </a:gridCol>
              </a:tblGrid>
              <a:tr h="1471966">
                <a:tc>
                  <a:txBody>
                    <a:bodyPr/>
                    <a:lstStyle/>
                    <a:p>
                      <a:pPr marL="0" lvl="0" indent="0" algn="l">
                        <a:spcAft>
                          <a:spcPts val="0"/>
                        </a:spcAft>
                        <a:buNone/>
                      </a:pPr>
                      <a:r>
                        <a:rPr lang="en-US" sz="1300" b="1" i="0" u="none" strike="noStrike" kern="1200" noProof="0">
                          <a:solidFill>
                            <a:srgbClr val="000000"/>
                          </a:solidFill>
                          <a:latin typeface="Segoe UI Semibold"/>
                        </a:rPr>
                        <a:t>Ingest</a:t>
                      </a:r>
                      <a:endParaRPr lang="en-US" sz="1300" b="0" i="0" u="none" strike="noStrike" kern="1200" noProof="0"/>
                    </a:p>
                    <a:p>
                      <a:pPr marL="0" lvl="0" indent="0" algn="l">
                        <a:spcAft>
                          <a:spcPts val="0"/>
                        </a:spcAft>
                        <a:buNone/>
                      </a:pPr>
                      <a:r>
                        <a:rPr lang="en-US" sz="1300" b="0" i="0" u="none" strike="noStrike" kern="1200" noProof="0">
                          <a:solidFill>
                            <a:srgbClr val="000000"/>
                          </a:solidFill>
                          <a:latin typeface="Segoe UI"/>
                        </a:rPr>
                        <a:t>Ingest the completion record for the learner &amp; learning content.</a:t>
                      </a:r>
                      <a:endParaRPr lang="en-US" sz="1300" b="0" i="0" u="none" strike="noStrike" kern="1200" noProof="0"/>
                    </a:p>
                    <a:p>
                      <a:pPr marL="0" lvl="0" indent="0" algn="l">
                        <a:spcAft>
                          <a:spcPts val="0"/>
                        </a:spcAft>
                        <a:buNone/>
                      </a:pPr>
                      <a:endParaRPr lang="en-US" sz="1300" b="0" i="0" u="none" strike="noStrike" kern="1200" noProof="0"/>
                    </a:p>
                    <a:p>
                      <a:pPr marL="0" lvl="0" indent="0" algn="l">
                        <a:spcAft>
                          <a:spcPts val="0"/>
                        </a:spcAft>
                        <a:buNone/>
                      </a:pPr>
                      <a:r>
                        <a:rPr lang="en-US" sz="1300" b="1" i="0" u="none" strike="noStrike" kern="1200" noProof="0">
                          <a:solidFill>
                            <a:srgbClr val="000000"/>
                          </a:solidFill>
                          <a:latin typeface="Segoe UI Semibold"/>
                        </a:rPr>
                        <a:t>Update </a:t>
                      </a:r>
                    </a:p>
                    <a:p>
                      <a:pPr marL="0" lvl="0" indent="0" algn="l">
                        <a:spcAft>
                          <a:spcPts val="0"/>
                        </a:spcAft>
                        <a:buNone/>
                      </a:pPr>
                      <a:r>
                        <a:rPr lang="en-US" sz="1300" b="0" i="0" u="none" strike="noStrike" kern="1200" noProof="0">
                          <a:solidFill>
                            <a:srgbClr val="000000"/>
                          </a:solidFill>
                          <a:latin typeface="Segoe UI"/>
                        </a:rPr>
                        <a:t>Update the ingested completion record.</a:t>
                      </a:r>
                      <a:endParaRPr lang="en-US" sz="1300" b="0" i="0" u="none" strike="noStrike" kern="1200" noProof="0"/>
                    </a:p>
                    <a:p>
                      <a:pPr marL="0" lvl="0" indent="0" algn="l" defTabSz="914367">
                        <a:spcAft>
                          <a:spcPts val="0"/>
                        </a:spcAft>
                        <a:buNone/>
                      </a:pPr>
                      <a:endParaRPr lang="en-US" sz="1300" b="0" i="0" u="none" strike="noStrike" kern="1200" noProof="0"/>
                    </a:p>
                    <a:p>
                      <a:pPr marL="0" lvl="0" indent="0" algn="l">
                        <a:spcAft>
                          <a:spcPts val="0"/>
                        </a:spcAft>
                        <a:buNone/>
                      </a:pPr>
                      <a:r>
                        <a:rPr lang="en-US" sz="1300" b="1" i="0" u="none" strike="noStrike" kern="1200" noProof="0">
                          <a:solidFill>
                            <a:srgbClr val="000000"/>
                          </a:solidFill>
                          <a:latin typeface="Segoe UI Semibold"/>
                        </a:rPr>
                        <a:t>Delete </a:t>
                      </a:r>
                    </a:p>
                    <a:p>
                      <a:pPr marL="0" lvl="0" indent="0" algn="l">
                        <a:spcAft>
                          <a:spcPts val="0"/>
                        </a:spcAft>
                        <a:buNone/>
                      </a:pPr>
                      <a:r>
                        <a:rPr lang="en-US" sz="1300" b="0" i="0" u="none" strike="noStrike" kern="1200" noProof="0">
                          <a:solidFill>
                            <a:srgbClr val="000000"/>
                          </a:solidFill>
                          <a:latin typeface="Segoe UI"/>
                        </a:rPr>
                        <a:t>Delete the ingested completion record.</a:t>
                      </a:r>
                      <a:endParaRPr lang="en-US" sz="1300" b="0" i="0" u="none" strike="noStrike" kern="1200" noProof="0"/>
                    </a:p>
                    <a:p>
                      <a:pPr marL="0" lvl="0" indent="0" algn="l" defTabSz="914367">
                        <a:spcAft>
                          <a:spcPts val="0"/>
                        </a:spcAft>
                        <a:buNone/>
                      </a:pPr>
                      <a:endParaRPr lang="en-US" sz="1300" b="0" i="0" u="none" strike="noStrike" kern="1200" noProof="0"/>
                    </a:p>
                    <a:p>
                      <a:pPr marL="0" lvl="0" indent="0" algn="l">
                        <a:spcAft>
                          <a:spcPts val="0"/>
                        </a:spcAft>
                        <a:buNone/>
                      </a:pPr>
                      <a:r>
                        <a:rPr lang="en-US" sz="1300" b="1" i="0" u="none" strike="noStrike" kern="1200" noProof="0">
                          <a:solidFill>
                            <a:srgbClr val="000000"/>
                          </a:solidFill>
                          <a:latin typeface="Segoe UI Semibold"/>
                        </a:rPr>
                        <a:t>Retrieve </a:t>
                      </a:r>
                    </a:p>
                    <a:p>
                      <a:pPr marL="0" lvl="0" indent="0" algn="l">
                        <a:spcAft>
                          <a:spcPts val="0"/>
                        </a:spcAft>
                        <a:buNone/>
                      </a:pPr>
                      <a:r>
                        <a:rPr lang="en-US" sz="1300" b="0" i="0" u="none" strike="noStrike" kern="1200" noProof="0">
                          <a:solidFill>
                            <a:srgbClr val="000000"/>
                          </a:solidFill>
                          <a:latin typeface="Segoe UI"/>
                        </a:rPr>
                        <a:t>Read the ingested completion record.</a:t>
                      </a:r>
                      <a:endParaRPr lang="en-US" sz="1300" b="0" i="0" u="none" strike="noStrike" kern="1200" noProof="0"/>
                    </a:p>
                    <a:p>
                      <a:pPr marL="0" lvl="0" indent="0" algn="l">
                        <a:spcAft>
                          <a:spcPts val="0"/>
                        </a:spcAft>
                        <a:buNone/>
                      </a:pPr>
                      <a:endParaRPr lang="en-US" sz="1300" b="0" i="0" u="none" strike="noStrike" kern="1200" noProof="0"/>
                    </a:p>
                    <a:p>
                      <a:pPr marL="0" lvl="0" indent="0" algn="l">
                        <a:spcAft>
                          <a:spcPts val="0"/>
                        </a:spcAft>
                        <a:buNone/>
                      </a:pPr>
                      <a:r>
                        <a:rPr lang="en-US" sz="1300" b="1" i="0" u="none" strike="noStrike" kern="1200" noProof="0">
                          <a:solidFill>
                            <a:srgbClr val="000000"/>
                          </a:solidFill>
                          <a:latin typeface="Segoe UI Semibold"/>
                        </a:rPr>
                        <a:t>Retrieve all completion records for a learner</a:t>
                      </a:r>
                      <a:endParaRPr lang="en-US" sz="1300" b="0" i="0" u="none" strike="noStrike" kern="1200" noProof="0"/>
                    </a:p>
                    <a:p>
                      <a:pPr marL="0" lvl="0" indent="0" algn="l">
                        <a:spcAft>
                          <a:spcPts val="0"/>
                        </a:spcAft>
                        <a:buNone/>
                      </a:pPr>
                      <a:endParaRPr lang="en-US" sz="1300" b="0" i="0" u="none" strike="noStrike" kern="1200" noProof="0"/>
                    </a:p>
                    <a:p>
                      <a:pPr marL="0" lvl="0" indent="0" algn="l">
                        <a:spcAft>
                          <a:spcPts val="0"/>
                        </a:spcAft>
                        <a:buNone/>
                      </a:pPr>
                      <a:endParaRPr lang="en-US" sz="1300" b="1" i="0" u="none" strike="noStrike" kern="1200" noProof="0">
                        <a:solidFill>
                          <a:srgbClr val="000000"/>
                        </a:solidFill>
                        <a:latin typeface="Segoe UI Semibold"/>
                      </a:endParaRPr>
                    </a:p>
                  </a:txBody>
                  <a:tcPr marL="0" marR="91426" marT="45712" marB="45712">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98794221"/>
                  </a:ext>
                </a:extLst>
              </a:tr>
            </a:tbl>
          </a:graphicData>
        </a:graphic>
      </p:graphicFrame>
      <p:sp>
        <p:nvSpPr>
          <p:cNvPr id="5" name="TextBox 4">
            <a:extLst>
              <a:ext uri="{FF2B5EF4-FFF2-40B4-BE49-F238E27FC236}">
                <a16:creationId xmlns:a16="http://schemas.microsoft.com/office/drawing/2014/main" id="{0856B845-4886-4051-85B4-46749A69690E}"/>
              </a:ext>
            </a:extLst>
          </p:cNvPr>
          <p:cNvSpPr txBox="1"/>
          <p:nvPr/>
        </p:nvSpPr>
        <p:spPr>
          <a:xfrm>
            <a:off x="588262" y="2450185"/>
            <a:ext cx="2246377" cy="384809"/>
          </a:xfrm>
          <a:prstGeom prst="rect">
            <a:avLst/>
          </a:prstGeom>
          <a:noFill/>
        </p:spPr>
        <p:txBody>
          <a:bodyPr wrap="none" lIns="182880" tIns="0" rIns="365760" bIns="0" rtlCol="0" anchor="t">
            <a:noAutofit/>
          </a:bodyPr>
          <a:lstStyle/>
          <a:p>
            <a:pPr marL="0" marR="0" lvl="0" indent="0" algn="l" defTabSz="931955" rtl="0" eaLnBrk="1" fontAlgn="auto" latinLnBrk="0" hangingPunct="1">
              <a:lnSpc>
                <a:spcPct val="90000"/>
              </a:lnSpc>
              <a:spcBef>
                <a:spcPts val="0"/>
              </a:spcBef>
              <a:spcAft>
                <a:spcPts val="400"/>
              </a:spcAft>
              <a:buClrTx/>
              <a:buSzTx/>
              <a:buFontTx/>
              <a:buNone/>
              <a:tabLst/>
              <a:defRPr/>
            </a:pPr>
            <a:r>
              <a:rPr kumimoji="0" lang="en-US" sz="1600" b="0" i="0" u="none" strike="noStrike" kern="1200" cap="none" spc="0" normalizeH="0" baseline="0" noProof="0">
                <a:ln>
                  <a:noFill/>
                </a:ln>
                <a:solidFill>
                  <a:srgbClr val="0078D4"/>
                </a:solidFill>
                <a:effectLst/>
                <a:uLnTx/>
                <a:uFillTx/>
                <a:latin typeface="Segoe UI Semibold"/>
                <a:ea typeface="+mn-ea"/>
                <a:cs typeface="Segoe UI Semibold"/>
              </a:rPr>
              <a:t>Scenarios</a:t>
            </a:r>
          </a:p>
          <a:p>
            <a:pPr marL="0" marR="0" lvl="0" indent="0" algn="l" defTabSz="931955" rtl="0" eaLnBrk="1" fontAlgn="auto" latinLnBrk="0" hangingPunct="1">
              <a:lnSpc>
                <a:spcPct val="90000"/>
              </a:lnSpc>
              <a:spcBef>
                <a:spcPts val="0"/>
              </a:spcBef>
              <a:spcAft>
                <a:spcPts val="40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Segoe UI"/>
              <a:ea typeface="+mn-ea"/>
              <a:cs typeface="+mn-cs"/>
            </a:endParaRPr>
          </a:p>
          <a:p>
            <a:pPr marL="0" marR="0" lvl="0" indent="0" algn="l" defTabSz="931955" rtl="0" eaLnBrk="1" fontAlgn="auto" latinLnBrk="0" hangingPunct="1">
              <a:lnSpc>
                <a:spcPct val="90000"/>
              </a:lnSpc>
              <a:spcBef>
                <a:spcPts val="0"/>
              </a:spcBef>
              <a:spcAft>
                <a:spcPts val="40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TextBox 12">
            <a:extLst>
              <a:ext uri="{FF2B5EF4-FFF2-40B4-BE49-F238E27FC236}">
                <a16:creationId xmlns:a16="http://schemas.microsoft.com/office/drawing/2014/main" id="{BA0BDC94-69F1-4F53-A927-24436CC61B9F}"/>
              </a:ext>
            </a:extLst>
          </p:cNvPr>
          <p:cNvSpPr txBox="1"/>
          <p:nvPr/>
        </p:nvSpPr>
        <p:spPr>
          <a:xfrm>
            <a:off x="4310497" y="2450185"/>
            <a:ext cx="2246377" cy="384809"/>
          </a:xfrm>
          <a:prstGeom prst="rect">
            <a:avLst/>
          </a:prstGeom>
          <a:noFill/>
        </p:spPr>
        <p:txBody>
          <a:bodyPr wrap="none" lIns="182880" tIns="0" rIns="365760" bIns="0" rtlCol="0" anchor="t">
            <a:noAutofit/>
          </a:bodyPr>
          <a:lstStyle/>
          <a:p>
            <a:pPr marL="0" marR="0" lvl="0" indent="0" algn="l" defTabSz="931955" rtl="0" eaLnBrk="1" fontAlgn="auto" latinLnBrk="0" hangingPunct="1">
              <a:lnSpc>
                <a:spcPct val="90000"/>
              </a:lnSpc>
              <a:spcBef>
                <a:spcPts val="0"/>
              </a:spcBef>
              <a:spcAft>
                <a:spcPts val="400"/>
              </a:spcAft>
              <a:buClrTx/>
              <a:buSzTx/>
              <a:buFontTx/>
              <a:buNone/>
              <a:tabLst/>
              <a:defRPr/>
            </a:pPr>
            <a:r>
              <a:rPr kumimoji="0" lang="en-US" sz="1600" b="0" i="0" u="none" strike="noStrike" kern="1200" cap="none" spc="0" normalizeH="0" baseline="0" noProof="0">
                <a:ln>
                  <a:noFill/>
                </a:ln>
                <a:solidFill>
                  <a:srgbClr val="0078D4"/>
                </a:solidFill>
                <a:effectLst/>
                <a:uLnTx/>
                <a:uFillTx/>
                <a:latin typeface="Segoe UI Semibold"/>
                <a:ea typeface="+mn-ea"/>
                <a:cs typeface="+mn-cs"/>
              </a:rPr>
              <a:t>Scenarios</a:t>
            </a: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TextBox 14">
            <a:extLst>
              <a:ext uri="{FF2B5EF4-FFF2-40B4-BE49-F238E27FC236}">
                <a16:creationId xmlns:a16="http://schemas.microsoft.com/office/drawing/2014/main" id="{C8A5BAA6-354B-41B1-BBEB-EC3421807292}"/>
              </a:ext>
            </a:extLst>
          </p:cNvPr>
          <p:cNvSpPr txBox="1"/>
          <p:nvPr/>
        </p:nvSpPr>
        <p:spPr>
          <a:xfrm>
            <a:off x="8300323" y="2450185"/>
            <a:ext cx="2246377" cy="384809"/>
          </a:xfrm>
          <a:prstGeom prst="rect">
            <a:avLst/>
          </a:prstGeom>
          <a:noFill/>
        </p:spPr>
        <p:txBody>
          <a:bodyPr wrap="none" lIns="182880" tIns="0" rIns="365760" bIns="0" rtlCol="0" anchor="t">
            <a:noAutofit/>
          </a:bodyPr>
          <a:lstStyle/>
          <a:p>
            <a:pPr marL="0" marR="0" lvl="0" indent="0" algn="l" defTabSz="931955" rtl="0" eaLnBrk="1" fontAlgn="auto" latinLnBrk="0" hangingPunct="1">
              <a:lnSpc>
                <a:spcPct val="90000"/>
              </a:lnSpc>
              <a:spcBef>
                <a:spcPts val="0"/>
              </a:spcBef>
              <a:spcAft>
                <a:spcPts val="400"/>
              </a:spcAft>
              <a:buClrTx/>
              <a:buSzTx/>
              <a:buFontTx/>
              <a:buNone/>
              <a:tabLst/>
              <a:defRPr/>
            </a:pPr>
            <a:r>
              <a:rPr kumimoji="0" lang="en-US" sz="1600" b="0" i="0" u="none" strike="noStrike" kern="1200" cap="none" spc="0" normalizeH="0" baseline="0" noProof="0">
                <a:ln>
                  <a:noFill/>
                </a:ln>
                <a:solidFill>
                  <a:srgbClr val="0078D4"/>
                </a:solidFill>
                <a:effectLst/>
                <a:uLnTx/>
                <a:uFillTx/>
                <a:latin typeface="Segoe UI Semibold"/>
                <a:ea typeface="+mn-ea"/>
                <a:cs typeface="+mn-cs"/>
              </a:rPr>
              <a:t>Scenarios</a:t>
            </a: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0" name="Oval 149">
            <a:extLst>
              <a:ext uri="{FF2B5EF4-FFF2-40B4-BE49-F238E27FC236}">
                <a16:creationId xmlns:a16="http://schemas.microsoft.com/office/drawing/2014/main" id="{C54BEC7C-340E-4BAC-BE92-52AA33D2D53D}"/>
              </a:ext>
            </a:extLst>
          </p:cNvPr>
          <p:cNvSpPr/>
          <p:nvPr/>
        </p:nvSpPr>
        <p:spPr bwMode="auto">
          <a:xfrm>
            <a:off x="8331703" y="1367456"/>
            <a:ext cx="755184" cy="755184"/>
          </a:xfrm>
          <a:prstGeom prst="ellipse">
            <a:avLst/>
          </a:prstGeom>
          <a:solidFill>
            <a:srgbClr val="008272"/>
          </a:solidFill>
          <a:ln w="63500" cap="flat">
            <a:noFill/>
            <a:prstDash val="solid"/>
            <a:miter/>
          </a:ln>
          <a:effectLst>
            <a:outerShdw blurRad="88900" dist="25400" dir="2700000" sx="102000" sy="102000" algn="ctr" rotWithShape="0">
              <a:prstClr val="black">
                <a:alpha val="30000"/>
              </a:prstClr>
            </a:outerShdw>
          </a:effectLst>
        </p:spPr>
        <p:txBody>
          <a:bodyPr rot="0" spcFirstLastPara="0" vert="horz" wrap="non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10000"/>
              </a:lnSpc>
              <a:spcBef>
                <a:spcPts val="0"/>
              </a:spcBef>
              <a:spcAft>
                <a:spcPct val="0"/>
              </a:spcAft>
              <a:buClrTx/>
              <a:buSzTx/>
              <a:buFontTx/>
              <a:buNone/>
              <a:tabLst/>
              <a:defRPr/>
            </a:pPr>
            <a:endPar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mn-ea"/>
              <a:cs typeface="Segoe UI" pitchFamily="34" charset="0"/>
            </a:endParaRPr>
          </a:p>
        </p:txBody>
      </p:sp>
      <p:graphicFrame>
        <p:nvGraphicFramePr>
          <p:cNvPr id="10" name="Table 9">
            <a:extLst>
              <a:ext uri="{FF2B5EF4-FFF2-40B4-BE49-F238E27FC236}">
                <a16:creationId xmlns:a16="http://schemas.microsoft.com/office/drawing/2014/main" id="{13E9E983-988C-4E4D-ACE2-AD162030E49B}"/>
              </a:ext>
            </a:extLst>
          </p:cNvPr>
          <p:cNvGraphicFramePr>
            <a:graphicFrameLocks noGrp="1"/>
          </p:cNvGraphicFramePr>
          <p:nvPr/>
        </p:nvGraphicFramePr>
        <p:xfrm>
          <a:off x="4566227" y="2788227"/>
          <a:ext cx="3470333" cy="3459464"/>
        </p:xfrm>
        <a:graphic>
          <a:graphicData uri="http://schemas.openxmlformats.org/drawingml/2006/table">
            <a:tbl>
              <a:tblPr>
                <a:tableStyleId>{5C22544A-7EE6-4342-B048-85BDC9FD1C3A}</a:tableStyleId>
              </a:tblPr>
              <a:tblGrid>
                <a:gridCol w="3470333">
                  <a:extLst>
                    <a:ext uri="{9D8B030D-6E8A-4147-A177-3AD203B41FA5}">
                      <a16:colId xmlns:a16="http://schemas.microsoft.com/office/drawing/2014/main" val="1715380854"/>
                    </a:ext>
                  </a:extLst>
                </a:gridCol>
              </a:tblGrid>
              <a:tr h="1630220">
                <a:tc>
                  <a:txBody>
                    <a:bodyPr/>
                    <a:lstStyle/>
                    <a:p>
                      <a:pPr marL="0" lvl="0" indent="0" algn="l">
                        <a:spcAft>
                          <a:spcPts val="0"/>
                        </a:spcAft>
                        <a:buNone/>
                      </a:pPr>
                      <a:r>
                        <a:rPr lang="en-US" sz="1300" b="1" i="0" u="none" strike="noStrike" kern="1200" noProof="0">
                          <a:solidFill>
                            <a:srgbClr val="000000"/>
                          </a:solidFill>
                          <a:latin typeface="Segoe UI Semibold"/>
                        </a:rPr>
                        <a:t>Ingest assignment record</a:t>
                      </a:r>
                      <a:endParaRPr lang="en-US" sz="1300" b="0" i="0" u="none" strike="noStrike" kern="1200" noProof="0"/>
                    </a:p>
                    <a:p>
                      <a:pPr marL="0" lvl="0" indent="0" algn="l">
                        <a:spcAft>
                          <a:spcPts val="0"/>
                        </a:spcAft>
                        <a:buNone/>
                      </a:pPr>
                      <a:r>
                        <a:rPr lang="en-US" sz="1300" b="0" i="0" u="none" strike="noStrike" kern="1200" noProof="0">
                          <a:solidFill>
                            <a:srgbClr val="000000"/>
                          </a:solidFill>
                          <a:latin typeface="Segoe UI"/>
                        </a:rPr>
                        <a:t>Ingest the assignment record for the learner &amp; learning content.</a:t>
                      </a:r>
                      <a:endParaRPr lang="en-US" sz="1300" b="0" i="0" u="none" strike="noStrike" kern="1200" noProof="0"/>
                    </a:p>
                    <a:p>
                      <a:pPr marL="0" lvl="0" indent="0" algn="l" defTabSz="914367">
                        <a:spcAft>
                          <a:spcPts val="0"/>
                        </a:spcAft>
                        <a:buNone/>
                      </a:pPr>
                      <a:endParaRPr lang="en-US" sz="1300" b="0" i="0" u="none" strike="noStrike" kern="1200" noProof="0"/>
                    </a:p>
                    <a:p>
                      <a:pPr marL="0" lvl="0" indent="0" algn="l">
                        <a:spcAft>
                          <a:spcPts val="0"/>
                        </a:spcAft>
                        <a:buNone/>
                      </a:pPr>
                      <a:r>
                        <a:rPr lang="en-US" sz="1300" b="1" i="0" u="none" strike="noStrike" kern="1200" noProof="0">
                          <a:solidFill>
                            <a:srgbClr val="000000"/>
                          </a:solidFill>
                          <a:latin typeface="Segoe UI Semibold"/>
                        </a:rPr>
                        <a:t>Update </a:t>
                      </a:r>
                      <a:endParaRPr lang="en-US" sz="1300" b="0" i="0" u="none" strike="noStrike" kern="1200" noProof="0"/>
                    </a:p>
                    <a:p>
                      <a:pPr marL="0" lvl="0" indent="0" algn="l">
                        <a:spcAft>
                          <a:spcPts val="0"/>
                        </a:spcAft>
                        <a:buNone/>
                      </a:pPr>
                      <a:r>
                        <a:rPr lang="en-US" sz="1300" b="0" i="0" u="none" strike="noStrike" kern="1200" noProof="0">
                          <a:solidFill>
                            <a:srgbClr val="000000"/>
                          </a:solidFill>
                          <a:latin typeface="Segoe UI"/>
                        </a:rPr>
                        <a:t>Update the ingested</a:t>
                      </a:r>
                      <a:r>
                        <a:rPr lang="en-US" sz="1300" b="0" i="0" u="none" strike="noStrike" kern="1200" noProof="0">
                          <a:solidFill>
                            <a:srgbClr val="000000"/>
                          </a:solidFill>
                          <a:latin typeface="Segoe UI"/>
                          <a:ea typeface="+mn-ea"/>
                          <a:cs typeface="+mn-cs"/>
                        </a:rPr>
                        <a:t> assignment record.</a:t>
                      </a:r>
                    </a:p>
                    <a:p>
                      <a:pPr marL="0" lvl="0" indent="0" algn="l" defTabSz="914367">
                        <a:spcAft>
                          <a:spcPts val="0"/>
                        </a:spcAft>
                        <a:buNone/>
                        <a:defRPr/>
                      </a:pPr>
                      <a:endParaRPr lang="en-US" sz="1300" b="0" i="0" u="none" strike="noStrike" kern="1200" noProof="0"/>
                    </a:p>
                    <a:p>
                      <a:pPr marL="0" lvl="0" indent="0" algn="l">
                        <a:spcAft>
                          <a:spcPts val="0"/>
                        </a:spcAft>
                        <a:buNone/>
                      </a:pPr>
                      <a:r>
                        <a:rPr lang="en-US" sz="1300" b="1" i="0" u="none" strike="noStrike" kern="1200" noProof="0">
                          <a:solidFill>
                            <a:srgbClr val="000000"/>
                          </a:solidFill>
                          <a:latin typeface="Segoe UI Semibold"/>
                        </a:rPr>
                        <a:t>Delete </a:t>
                      </a:r>
                    </a:p>
                    <a:p>
                      <a:pPr marL="0" lvl="0" indent="0" algn="l">
                        <a:spcAft>
                          <a:spcPts val="0"/>
                        </a:spcAft>
                        <a:buNone/>
                      </a:pPr>
                      <a:r>
                        <a:rPr lang="en-US" sz="1300" b="0" i="0" u="none" strike="noStrike" kern="1200" noProof="0">
                          <a:solidFill>
                            <a:srgbClr val="000000"/>
                          </a:solidFill>
                          <a:latin typeface="Segoe UI"/>
                          <a:ea typeface="+mn-ea"/>
                          <a:cs typeface="+mn-cs"/>
                        </a:rPr>
                        <a:t>Delete</a:t>
                      </a:r>
                      <a:r>
                        <a:rPr lang="en-US" sz="1300" b="0" i="0" u="none" strike="noStrike" kern="1200" noProof="0">
                          <a:solidFill>
                            <a:srgbClr val="000000"/>
                          </a:solidFill>
                          <a:latin typeface="Segoe UI"/>
                        </a:rPr>
                        <a:t> the ingeste</a:t>
                      </a:r>
                      <a:r>
                        <a:rPr lang="en-US" sz="1300" b="0" i="0" u="none" strike="noStrike" kern="1200" noProof="0">
                          <a:solidFill>
                            <a:srgbClr val="000000"/>
                          </a:solidFill>
                          <a:latin typeface="Segoe UI"/>
                          <a:ea typeface="+mn-ea"/>
                          <a:cs typeface="+mn-cs"/>
                        </a:rPr>
                        <a:t>d assignment record.</a:t>
                      </a:r>
                    </a:p>
                    <a:p>
                      <a:pPr marL="0" lvl="0" indent="0" algn="l">
                        <a:spcAft>
                          <a:spcPts val="0"/>
                        </a:spcAft>
                        <a:buNone/>
                      </a:pPr>
                      <a:endParaRPr lang="en-US" sz="1300" b="0" i="0" u="none" strike="noStrike" kern="1200" noProof="0">
                        <a:solidFill>
                          <a:srgbClr val="000000"/>
                        </a:solidFill>
                        <a:latin typeface="Segoe UI"/>
                        <a:ea typeface="+mn-ea"/>
                        <a:cs typeface="+mn-cs"/>
                      </a:endParaRPr>
                    </a:p>
                    <a:p>
                      <a:pPr marL="0" lvl="0" indent="0" algn="l">
                        <a:spcAft>
                          <a:spcPts val="0"/>
                        </a:spcAft>
                        <a:buNone/>
                      </a:pPr>
                      <a:r>
                        <a:rPr lang="en-US" sz="1300" b="1" i="0" u="none" strike="noStrike" kern="1200" noProof="0">
                          <a:solidFill>
                            <a:srgbClr val="000000"/>
                          </a:solidFill>
                          <a:latin typeface="Segoe UI Semibold"/>
                        </a:rPr>
                        <a:t>Retrieve </a:t>
                      </a:r>
                    </a:p>
                    <a:p>
                      <a:pPr marL="0" lvl="0" indent="0" algn="l">
                        <a:spcAft>
                          <a:spcPts val="0"/>
                        </a:spcAft>
                        <a:buNone/>
                      </a:pPr>
                      <a:r>
                        <a:rPr lang="en-US" sz="1300" b="0" i="0" u="none" strike="noStrike" kern="1200" noProof="0">
                          <a:solidFill>
                            <a:srgbClr val="000000"/>
                          </a:solidFill>
                          <a:latin typeface="Segoe UI"/>
                        </a:rPr>
                        <a:t>Read the inge</a:t>
                      </a:r>
                      <a:r>
                        <a:rPr lang="en-US" sz="1300" b="0" i="0" u="none" strike="noStrike" kern="1200" noProof="0">
                          <a:solidFill>
                            <a:srgbClr val="000000"/>
                          </a:solidFill>
                          <a:latin typeface="Segoe UI"/>
                          <a:ea typeface="+mn-ea"/>
                          <a:cs typeface="+mn-cs"/>
                        </a:rPr>
                        <a:t>sted assignment record.</a:t>
                      </a:r>
                    </a:p>
                    <a:p>
                      <a:pPr marL="0" lvl="0" indent="0" algn="l">
                        <a:spcAft>
                          <a:spcPts val="0"/>
                        </a:spcAft>
                        <a:buNone/>
                      </a:pPr>
                      <a:endParaRPr lang="en-US" sz="1300" b="0" i="0" u="none" strike="noStrike" kern="1200" noProof="0">
                        <a:solidFill>
                          <a:srgbClr val="000000"/>
                        </a:solidFill>
                        <a:latin typeface="Segoe UI"/>
                        <a:ea typeface="+mn-ea"/>
                        <a:cs typeface="+mn-cs"/>
                      </a:endParaRPr>
                    </a:p>
                    <a:p>
                      <a:pPr marL="0" lvl="0" indent="0" algn="l">
                        <a:spcAft>
                          <a:spcPts val="0"/>
                        </a:spcAft>
                        <a:buNone/>
                      </a:pPr>
                      <a:r>
                        <a:rPr lang="en-US" sz="1300" b="1" i="0" u="none" strike="noStrike" kern="1200" noProof="0">
                          <a:solidFill>
                            <a:srgbClr val="000000"/>
                          </a:solidFill>
                          <a:latin typeface="Segoe UI Semibold"/>
                          <a:ea typeface="+mn-ea"/>
                          <a:cs typeface="+mn-cs"/>
                        </a:rPr>
                        <a:t>Retrieve all assignments for a learner</a:t>
                      </a:r>
                    </a:p>
                    <a:p>
                      <a:pPr marL="0" lvl="0" indent="0" algn="l">
                        <a:spcAft>
                          <a:spcPts val="0"/>
                        </a:spcAft>
                        <a:buNone/>
                      </a:pPr>
                      <a:endParaRPr lang="en-US" sz="1300" b="1" i="0" u="none" strike="noStrike" kern="1200" noProof="0">
                        <a:solidFill>
                          <a:srgbClr val="000000"/>
                        </a:solidFill>
                        <a:latin typeface="Segoe UI Semibold"/>
                        <a:ea typeface="+mn-ea"/>
                        <a:cs typeface="+mn-cs"/>
                      </a:endParaRPr>
                    </a:p>
                    <a:p>
                      <a:pPr marL="0" lvl="0" indent="0" algn="l">
                        <a:spcAft>
                          <a:spcPts val="0"/>
                        </a:spcAft>
                        <a:buNone/>
                      </a:pPr>
                      <a:r>
                        <a:rPr lang="en-US" sz="1300" b="1" i="0" u="none" strike="noStrike" kern="1200" noProof="0">
                          <a:solidFill>
                            <a:srgbClr val="000000"/>
                          </a:solidFill>
                          <a:latin typeface="Segoe UI Semibold"/>
                          <a:ea typeface="+mn-ea"/>
                          <a:cs typeface="+mn-cs"/>
                        </a:rPr>
                        <a:t>Retrieve all assignments for a learner for a learning content</a:t>
                      </a:r>
                    </a:p>
                  </a:txBody>
                  <a:tcPr marL="0" marR="91426" marT="45712" marB="45712">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98794221"/>
                  </a:ext>
                </a:extLst>
              </a:tr>
            </a:tbl>
          </a:graphicData>
        </a:graphic>
      </p:graphicFrame>
      <p:pic>
        <p:nvPicPr>
          <p:cNvPr id="12" name="Graphic 11" descr="Books outline">
            <a:extLst>
              <a:ext uri="{FF2B5EF4-FFF2-40B4-BE49-F238E27FC236}">
                <a16:creationId xmlns:a16="http://schemas.microsoft.com/office/drawing/2014/main" id="{981B2217-21BA-756D-E99E-B3CEE9142DD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20028" y="1469159"/>
            <a:ext cx="551777" cy="551777"/>
          </a:xfrm>
          <a:prstGeom prst="rect">
            <a:avLst/>
          </a:prstGeom>
        </p:spPr>
      </p:pic>
      <p:pic>
        <p:nvPicPr>
          <p:cNvPr id="17" name="Graphic 16" descr="Inbox with solid fill">
            <a:extLst>
              <a:ext uri="{FF2B5EF4-FFF2-40B4-BE49-F238E27FC236}">
                <a16:creationId xmlns:a16="http://schemas.microsoft.com/office/drawing/2014/main" id="{4F8CFA8A-8AD3-6F34-AFEE-1E9E733C7F9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481603" y="1448125"/>
            <a:ext cx="546986" cy="546986"/>
          </a:xfrm>
          <a:prstGeom prst="rect">
            <a:avLst/>
          </a:prstGeom>
        </p:spPr>
      </p:pic>
      <p:pic>
        <p:nvPicPr>
          <p:cNvPr id="19" name="Graphic 18" descr="Inbox Check with solid fill">
            <a:extLst>
              <a:ext uri="{FF2B5EF4-FFF2-40B4-BE49-F238E27FC236}">
                <a16:creationId xmlns:a16="http://schemas.microsoft.com/office/drawing/2014/main" id="{893D7861-03CD-D7C6-AE1B-1A643D7C22C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412476" y="1395498"/>
            <a:ext cx="576325" cy="576325"/>
          </a:xfrm>
          <a:prstGeom prst="rect">
            <a:avLst/>
          </a:prstGeom>
        </p:spPr>
      </p:pic>
      <p:pic>
        <p:nvPicPr>
          <p:cNvPr id="2" name="Graphic 1">
            <a:extLst>
              <a:ext uri="{FF2B5EF4-FFF2-40B4-BE49-F238E27FC236}">
                <a16:creationId xmlns:a16="http://schemas.microsoft.com/office/drawing/2014/main" id="{86071A5A-058E-0645-127C-3929BE4DF6FE}"/>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1019489" y="325133"/>
            <a:ext cx="1043903" cy="861775"/>
          </a:xfrm>
          <a:prstGeom prst="rect">
            <a:avLst/>
          </a:prstGeom>
        </p:spPr>
      </p:pic>
    </p:spTree>
    <p:extLst>
      <p:ext uri="{BB962C8B-B14F-4D97-AF65-F5344CB8AC3E}">
        <p14:creationId xmlns:p14="http://schemas.microsoft.com/office/powerpoint/2010/main" val="4192980019"/>
      </p:ext>
    </p:extLst>
  </p:cSld>
  <p:clrMapOvr>
    <a:masterClrMapping/>
  </p:clrMapOvr>
  <p:transition>
    <p:fade/>
  </p:transition>
  <p:extLst>
    <p:ext uri="{6950BFC3-D8DA-4A85-94F7-54DA5524770B}">
      <p188:commentRel xmlns:p188="http://schemas.microsoft.com/office/powerpoint/2018/8/main" r:id="rId3"/>
    </p:ext>
  </p:extLs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C498C3F-26B8-4B0A-AED1-8BB808886138}"/>
              </a:ext>
            </a:extLst>
          </p:cNvPr>
          <p:cNvSpPr>
            <a:spLocks noGrp="1"/>
          </p:cNvSpPr>
          <p:nvPr>
            <p:ph type="title"/>
          </p:nvPr>
        </p:nvSpPr>
        <p:spPr>
          <a:xfrm>
            <a:off x="588262" y="236642"/>
            <a:ext cx="11018520" cy="553998"/>
          </a:xfrm>
        </p:spPr>
        <p:txBody>
          <a:bodyPr>
            <a:normAutofit/>
          </a:bodyPr>
          <a:lstStyle/>
          <a:p>
            <a:r>
              <a:rPr lang="en-US" sz="3600">
                <a:solidFill>
                  <a:srgbClr val="107C10"/>
                </a:solidFill>
                <a:latin typeface="Segoe UI Semibold"/>
              </a:rPr>
              <a:t>Learning content in Viva Learning</a:t>
            </a:r>
            <a:endParaRPr lang="en-US" sz="3600">
              <a:solidFill>
                <a:srgbClr val="107C10"/>
              </a:solidFill>
              <a:latin typeface="Segoe UI Semibold"/>
              <a:cs typeface="Segoe UI Semibold"/>
            </a:endParaRPr>
          </a:p>
        </p:txBody>
      </p:sp>
      <p:pic>
        <p:nvPicPr>
          <p:cNvPr id="7" name="Picture 8" descr="Graphical user interface, website&#10;&#10;Description automatically generated">
            <a:extLst>
              <a:ext uri="{FF2B5EF4-FFF2-40B4-BE49-F238E27FC236}">
                <a16:creationId xmlns:a16="http://schemas.microsoft.com/office/drawing/2014/main" id="{F5209434-5B2A-17FC-EA53-5D749DF1A4FC}"/>
              </a:ext>
            </a:extLst>
          </p:cNvPr>
          <p:cNvPicPr>
            <a:picLocks noChangeAspect="1"/>
          </p:cNvPicPr>
          <p:nvPr/>
        </p:nvPicPr>
        <p:blipFill>
          <a:blip r:embed="rId4"/>
          <a:stretch>
            <a:fillRect/>
          </a:stretch>
        </p:blipFill>
        <p:spPr>
          <a:xfrm>
            <a:off x="551502" y="887842"/>
            <a:ext cx="10252805" cy="5779467"/>
          </a:xfrm>
          <a:prstGeom prst="rect">
            <a:avLst/>
          </a:prstGeom>
        </p:spPr>
      </p:pic>
      <p:pic>
        <p:nvPicPr>
          <p:cNvPr id="2" name="Graphic 1">
            <a:extLst>
              <a:ext uri="{FF2B5EF4-FFF2-40B4-BE49-F238E27FC236}">
                <a16:creationId xmlns:a16="http://schemas.microsoft.com/office/drawing/2014/main" id="{7D28D42C-E1F7-BF97-FB66-10A8B996FB83}"/>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019489" y="325133"/>
            <a:ext cx="1043903" cy="861775"/>
          </a:xfrm>
          <a:prstGeom prst="rect">
            <a:avLst/>
          </a:prstGeom>
        </p:spPr>
      </p:pic>
    </p:spTree>
    <p:extLst>
      <p:ext uri="{BB962C8B-B14F-4D97-AF65-F5344CB8AC3E}">
        <p14:creationId xmlns:p14="http://schemas.microsoft.com/office/powerpoint/2010/main" val="2974015592"/>
      </p:ext>
    </p:extLst>
  </p:cSld>
  <p:clrMapOvr>
    <a:masterClrMapping/>
  </p:clrMapOvr>
  <p:transition>
    <p:fade/>
  </p:transition>
  <p:extLst>
    <p:ext uri="{6950BFC3-D8DA-4A85-94F7-54DA5524770B}">
      <p188:commentRel xmlns:p188="http://schemas.microsoft.com/office/powerpoint/2018/8/main" r:id="rId3"/>
    </p:ext>
  </p:extLs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vQw2SSpAYbckHefPvKzZxg"/>
</p:tagLst>
</file>

<file path=ppt/theme/theme1.xml><?xml version="1.0" encoding="utf-8"?>
<a:theme xmlns:a="http://schemas.openxmlformats.org/drawingml/2006/main" name="6-52060_Viva_Learning_Green-teal">
  <a:themeElements>
    <a:clrScheme name="Viva analagous 2">
      <a:dk1>
        <a:srgbClr val="000000"/>
      </a:dk1>
      <a:lt1>
        <a:srgbClr val="FFFFFF"/>
      </a:lt1>
      <a:dk2>
        <a:srgbClr val="2F2F2F"/>
      </a:dk2>
      <a:lt2>
        <a:srgbClr val="E6E6E6"/>
      </a:lt2>
      <a:accent1>
        <a:srgbClr val="107C10"/>
      </a:accent1>
      <a:accent2>
        <a:srgbClr val="054B16"/>
      </a:accent2>
      <a:accent3>
        <a:srgbClr val="9BF00B"/>
      </a:accent3>
      <a:accent4>
        <a:srgbClr val="008575"/>
      </a:accent4>
      <a:accent5>
        <a:srgbClr val="274B47"/>
      </a:accent5>
      <a:accent6>
        <a:srgbClr val="30E5D0"/>
      </a:accent6>
      <a:hlink>
        <a:srgbClr val="008575"/>
      </a:hlink>
      <a:folHlink>
        <a:srgbClr val="008575"/>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Viva_modules_PowerPoint_template_Learning.potx" id="{E60C0F4F-3DD6-4BB0-89CC-8A89669D08F2}" vid="{4D4B5475-AA4D-4C5C-B750-E5CDA2F06583}"/>
    </a:ext>
  </a:extLst>
</a:theme>
</file>

<file path=ppt/theme/theme2.xml><?xml version="1.0" encoding="utf-8"?>
<a:theme xmlns:a="http://schemas.openxmlformats.org/drawingml/2006/main" name="1_Microsoft Viva Learning Template - 2021">
  <a:themeElements>
    <a:clrScheme name="Custom 9">
      <a:dk1>
        <a:srgbClr val="282828"/>
      </a:dk1>
      <a:lt1>
        <a:srgbClr val="FFFFFF"/>
      </a:lt1>
      <a:dk2>
        <a:srgbClr val="282828"/>
      </a:dk2>
      <a:lt2>
        <a:srgbClr val="FFFFFF"/>
      </a:lt2>
      <a:accent1>
        <a:srgbClr val="9BF00B"/>
      </a:accent1>
      <a:accent2>
        <a:srgbClr val="107C10"/>
      </a:accent2>
      <a:accent3>
        <a:srgbClr val="054B16"/>
      </a:accent3>
      <a:accent4>
        <a:srgbClr val="30E5D0"/>
      </a:accent4>
      <a:accent5>
        <a:srgbClr val="008575"/>
      </a:accent5>
      <a:accent6>
        <a:srgbClr val="274B47"/>
      </a:accent6>
      <a:hlink>
        <a:srgbClr val="107C10"/>
      </a:hlink>
      <a:folHlink>
        <a:srgbClr val="9BF00B"/>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lumMod val="65000"/>
          </a:schemeClr>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marL="285750" marR="0" indent="-285750" algn="l">
          <a:lnSpc>
            <a:spcPct val="107000"/>
          </a:lnSpc>
          <a:spcBef>
            <a:spcPts val="0"/>
          </a:spcBef>
          <a:spcAft>
            <a:spcPts val="800"/>
          </a:spcAft>
          <a:buFont typeface="Arial" panose="020B0604020202020204" pitchFamily="34" charset="0"/>
          <a:buChar char="•"/>
          <a:defRPr sz="1800" b="1" dirty="0">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3.xml><?xml version="1.0" encoding="utf-8"?>
<a:theme xmlns:a="http://schemas.openxmlformats.org/drawingml/2006/main" name="Microsoft Ignite White Template">
  <a:themeElements>
    <a:clrScheme name="Inspire-Ignite White">
      <a:dk1>
        <a:srgbClr val="000000"/>
      </a:dk1>
      <a:lt1>
        <a:srgbClr val="FFFFFF"/>
      </a:lt1>
      <a:dk2>
        <a:srgbClr val="243A5E"/>
      </a:dk2>
      <a:lt2>
        <a:srgbClr val="E6E6E6"/>
      </a:lt2>
      <a:accent1>
        <a:srgbClr val="0078D4"/>
      </a:accent1>
      <a:accent2>
        <a:srgbClr val="243A5E"/>
      </a:accent2>
      <a:accent3>
        <a:srgbClr val="D83B01"/>
      </a:accent3>
      <a:accent4>
        <a:srgbClr val="FF9349"/>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Product Roundtable Session - Template" id="{F7AA6D13-63F4-4875-A845-06FEF68A74EE}" vid="{2AB273ED-4CDD-4BEC-9E62-BDE59D529365}"/>
    </a:ext>
  </a:extLst>
</a:theme>
</file>

<file path=ppt/theme/theme4.xml><?xml version="1.0" encoding="utf-8"?>
<a:theme xmlns:a="http://schemas.openxmlformats.org/drawingml/2006/main" name="52060_Viva_Blue-purple">
  <a:themeElements>
    <a:clrScheme name="Viva analogous 3">
      <a:dk1>
        <a:srgbClr val="000000"/>
      </a:dk1>
      <a:lt1>
        <a:srgbClr val="FFFFFF"/>
      </a:lt1>
      <a:dk2>
        <a:srgbClr val="2F2F2F"/>
      </a:dk2>
      <a:lt2>
        <a:srgbClr val="E6E6E6"/>
      </a:lt2>
      <a:accent1>
        <a:srgbClr val="0078D4"/>
      </a:accent1>
      <a:accent2>
        <a:srgbClr val="243A5E"/>
      </a:accent2>
      <a:accent3>
        <a:srgbClr val="50E6FF"/>
      </a:accent3>
      <a:accent4>
        <a:srgbClr val="8661C5"/>
      </a:accent4>
      <a:accent5>
        <a:srgbClr val="3B2E58"/>
      </a:accent5>
      <a:accent6>
        <a:srgbClr val="D59D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 Viva PPT Template_Option B_FINAL.potx" id="{B2D333C7-7EEA-44BB-88CD-BF9A422A4E30}" vid="{9D84C7F4-8AE9-4749-BFE7-C4CB5B80B011}"/>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230e9df3-be65-4c73-a93b-d1236ebd677e" xsi:nil="true"/>
    <MediaServiceDateTaken xmlns="1533c246-0941-4ae9-966e-83b11c41a9aa" xsi:nil="true"/>
    <MediaServiceAutoKeyPoints xmlns="1533c246-0941-4ae9-966e-83b11c41a9aa" xsi:nil="true"/>
    <MediaServiceKeyPoints xmlns="1533c246-0941-4ae9-966e-83b11c41a9aa" xsi:nil="true"/>
    <OneNoteFluid_Teams_Conversation_Id0 xmlns="1533c246-0941-4ae9-966e-83b11c41a9aa" xsi:nil="true"/>
    <OneNoteFluid_FileOrder xmlns="1533c246-0941-4ae9-966e-83b11c41a9aa" xsi:nil="true"/>
    <_ip_UnifiedCompliancePolicyUIAction xmlns="http://schemas.microsoft.com/sharepoint/v3" xsi:nil="true"/>
    <test xmlns="1533c246-0941-4ae9-966e-83b11c41a9aa">
      <Url xsi:nil="true"/>
      <Description xsi:nil="true"/>
    </test>
    <lcf76f155ced4ddcb4097134ff3c332f xmlns="1533c246-0941-4ae9-966e-83b11c41a9aa">
      <Terms xmlns="http://schemas.microsoft.com/office/infopath/2007/PartnerControls"/>
    </lcf76f155ced4ddcb4097134ff3c332f>
    <OneNoteFluid_Teams_Conversation_Id xmlns="1533c246-0941-4ae9-966e-83b11c41a9aa" xsi:nil="true"/>
    <Image xmlns="1533c246-0941-4ae9-966e-83b11c41a9aa" xsi:nil="true"/>
    <_ip_UnifiedCompliancePolicyProperties xmlns="http://schemas.microsoft.com/sharepoint/v3" xsi:nil="true"/>
    <Duration xmlns="1533c246-0941-4ae9-966e-83b11c41a9aa" xsi:nil="true"/>
    <thumbnails xmlns="1533c246-0941-4ae9-966e-83b11c41a9aa">
      <Url xsi:nil="true"/>
      <Description xsi:nil="true"/>
    </thumbnails>
    <SortOrder xmlns="1533c246-0941-4ae9-966e-83b11c41a9aa" xsi:nil="true"/>
    <TestImage xmlns="1533c246-0941-4ae9-966e-83b11c41a9aa"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39E4E46AEE829046AFC9CD8AFC045603" ma:contentTypeVersion="30" ma:contentTypeDescription="Create a new document." ma:contentTypeScope="" ma:versionID="5374be60dc9bb182966ab33f72e91afb">
  <xsd:schema xmlns:xsd="http://www.w3.org/2001/XMLSchema" xmlns:xs="http://www.w3.org/2001/XMLSchema" xmlns:p="http://schemas.microsoft.com/office/2006/metadata/properties" xmlns:ns1="http://schemas.microsoft.com/sharepoint/v3" xmlns:ns2="1533c246-0941-4ae9-966e-83b11c41a9aa" xmlns:ns3="5eaa3ef4-d047-42cf-80a0-38e79b08581d" xmlns:ns4="230e9df3-be65-4c73-a93b-d1236ebd677e" targetNamespace="http://schemas.microsoft.com/office/2006/metadata/properties" ma:root="true" ma:fieldsID="c06709cef949fda7e2a8e7952b5be561" ns1:_="" ns2:_="" ns3:_="" ns4:_="">
    <xsd:import namespace="http://schemas.microsoft.com/sharepoint/v3"/>
    <xsd:import namespace="1533c246-0941-4ae9-966e-83b11c41a9aa"/>
    <xsd:import namespace="5eaa3ef4-d047-42cf-80a0-38e79b08581d"/>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ServiceAutoTags" minOccurs="0"/>
                <xsd:element ref="ns2:MediaServiceGenerationTime" minOccurs="0"/>
                <xsd:element ref="ns2:MediaServiceEventHashCode" minOccurs="0"/>
                <xsd:element ref="ns2:MediaServiceLocation" minOccurs="0"/>
                <xsd:element ref="ns2:MediaServiceOCR" minOccurs="0"/>
                <xsd:element ref="ns2:MediaLengthInSeconds" minOccurs="0"/>
                <xsd:element ref="ns2:OneNoteFluid_Teams_Conversation_Id" minOccurs="0"/>
                <xsd:element ref="ns2:OneNoteFluid_Teams_Conversation_Id0" minOccurs="0"/>
                <xsd:element ref="ns2:OneNoteFluid_FileOrder" minOccurs="0"/>
                <xsd:element ref="ns2:TestImage" minOccurs="0"/>
                <xsd:element ref="ns2:SortOrder" minOccurs="0"/>
                <xsd:element ref="ns2:Duration" minOccurs="0"/>
                <xsd:element ref="ns1:_ip_UnifiedCompliancePolicyProperties" minOccurs="0"/>
                <xsd:element ref="ns1:_ip_UnifiedCompliancePolicyUIAction" minOccurs="0"/>
                <xsd:element ref="ns2:thumbnails" minOccurs="0"/>
                <xsd:element ref="ns2:test" minOccurs="0"/>
                <xsd:element ref="ns2:Image"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7" nillable="true" ma:displayName="Unified Compliance Policy Properties" ma:hidden="true" ma:internalName="_ip_UnifiedCompliancePolicyProperties">
      <xsd:simpleType>
        <xsd:restriction base="dms:Note"/>
      </xsd:simpleType>
    </xsd:element>
    <xsd:element name="_ip_UnifiedCompliancePolicyUIAction" ma:index="28"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533c246-0941-4ae9-966e-83b11c41a9a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OneNoteFluid_Teams_Conversation_Id" ma:index="21" nillable="true" ma:displayName="OneNoteFluid_Teams_Conversation_Id" ma:internalName="OneNoteFluid_Teams_Conversation_Id">
      <xsd:simpleType>
        <xsd:restriction base="dms:Text">
          <xsd:maxLength value="255"/>
        </xsd:restriction>
      </xsd:simpleType>
    </xsd:element>
    <xsd:element name="OneNoteFluid_Teams_Conversation_Id0" ma:index="22" nillable="true" ma:displayName="OneNoteFluid_Teams_Conversation_Id" ma:internalName="OneNoteFluid_Teams_Conversation_Id0">
      <xsd:simpleType>
        <xsd:restriction base="dms:Text">
          <xsd:maxLength value="255"/>
        </xsd:restriction>
      </xsd:simpleType>
    </xsd:element>
    <xsd:element name="OneNoteFluid_FileOrder" ma:index="23" nillable="true" ma:displayName="OneNoteFluid_FileOrder" ma:internalName="OneNoteFluid_FileOrder">
      <xsd:simpleType>
        <xsd:restriction base="dms:Text">
          <xsd:maxLength value="255"/>
        </xsd:restriction>
      </xsd:simpleType>
    </xsd:element>
    <xsd:element name="TestImage" ma:index="24" nillable="true" ma:displayName="Thumbnail" ma:format="Thumbnail" ma:internalName="TestImage">
      <xsd:simpleType>
        <xsd:restriction base="dms:Unknown"/>
      </xsd:simpleType>
    </xsd:element>
    <xsd:element name="SortOrder" ma:index="25" nillable="true" ma:displayName="SortOrder" ma:format="Dropdown" ma:internalName="SortOrder" ma:percentage="FALSE">
      <xsd:simpleType>
        <xsd:restriction base="dms:Number"/>
      </xsd:simpleType>
    </xsd:element>
    <xsd:element name="Duration" ma:index="26" nillable="true" ma:displayName="Duration" ma:format="Dropdown" ma:internalName="Duration" ma:percentage="FALSE">
      <xsd:simpleType>
        <xsd:restriction base="dms:Number"/>
      </xsd:simpleType>
    </xsd:element>
    <xsd:element name="thumbnails" ma:index="29" nillable="true" ma:displayName="thumbnails" ma:format="Image" ma:internalName="thumbnails">
      <xsd:complexType>
        <xsd:complexContent>
          <xsd:extension base="dms:URL">
            <xsd:sequence>
              <xsd:element name="Url" type="dms:ValidUrl" minOccurs="0" nillable="true"/>
              <xsd:element name="Description" type="xsd:string" nillable="true"/>
            </xsd:sequence>
          </xsd:extension>
        </xsd:complexContent>
      </xsd:complexType>
    </xsd:element>
    <xsd:element name="test" ma:index="30" nillable="true" ma:displayName="test" ma:format="Image" ma:internalName="test">
      <xsd:complexType>
        <xsd:complexContent>
          <xsd:extension base="dms:URL">
            <xsd:sequence>
              <xsd:element name="Url" type="dms:ValidUrl" minOccurs="0" nillable="true"/>
              <xsd:element name="Description" type="xsd:string" nillable="true"/>
            </xsd:sequence>
          </xsd:extension>
        </xsd:complexContent>
      </xsd:complexType>
    </xsd:element>
    <xsd:element name="Image" ma:index="31" nillable="true" ma:displayName="Image" ma:format="Thumbnail" ma:internalName="Image">
      <xsd:simpleType>
        <xsd:restriction base="dms:Unknown"/>
      </xsd:simpleType>
    </xsd:element>
    <xsd:element name="lcf76f155ced4ddcb4097134ff3c332f" ma:index="33"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eaa3ef4-d047-42cf-80a0-38e79b08581d"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34" nillable="true" ma:displayName="Taxonomy Catch All Column" ma:hidden="true" ma:list="{274ed56b-c955-48d3-abcf-dea4b1415d9b}" ma:internalName="TaxCatchAll" ma:showField="CatchAllData" ma:web="5eaa3ef4-d047-42cf-80a0-38e79b08581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5B97C59-2DB3-4644-8A37-CED18DDDF6D2}">
  <ds:schemaRefs>
    <ds:schemaRef ds:uri="http://schemas.microsoft.com/sharepoint/v3/contenttype/forms"/>
  </ds:schemaRefs>
</ds:datastoreItem>
</file>

<file path=customXml/itemProps2.xml><?xml version="1.0" encoding="utf-8"?>
<ds:datastoreItem xmlns:ds="http://schemas.openxmlformats.org/officeDocument/2006/customXml" ds:itemID="{934422AD-358C-4103-A9FA-F2C6E673BF4E}">
  <ds:schemaRefs>
    <ds:schemaRef ds:uri="1533c246-0941-4ae9-966e-83b11c41a9aa"/>
    <ds:schemaRef ds:uri="230e9df3-be65-4c73-a93b-d1236ebd677e"/>
    <ds:schemaRef ds:uri="5eaa3ef4-d047-42cf-80a0-38e79b08581d"/>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ADEA607A-5E4D-4A1A-A460-4172A9A683C6}">
  <ds:schemaRefs>
    <ds:schemaRef ds:uri="1533c246-0941-4ae9-966e-83b11c41a9aa"/>
    <ds:schemaRef ds:uri="230e9df3-be65-4c73-a93b-d1236ebd677e"/>
    <ds:schemaRef ds:uri="5eaa3ef4-d047-42cf-80a0-38e79b08581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16</Slides>
  <Notes>14</Notes>
  <HiddenSlides>0</HiddenSlides>
  <ScaleCrop>false</ScaleCrop>
  <HeadingPairs>
    <vt:vector size="4" baseType="variant">
      <vt:variant>
        <vt:lpstr>Theme</vt:lpstr>
      </vt:variant>
      <vt:variant>
        <vt:i4>4</vt:i4>
      </vt:variant>
      <vt:variant>
        <vt:lpstr>Slide Titles</vt:lpstr>
      </vt:variant>
      <vt:variant>
        <vt:i4>16</vt:i4>
      </vt:variant>
    </vt:vector>
  </HeadingPairs>
  <TitlesOfParts>
    <vt:vector size="20" baseType="lpstr">
      <vt:lpstr>6-52060_Viva_Learning_Green-teal</vt:lpstr>
      <vt:lpstr>1_Microsoft Viva Learning Template - 2021</vt:lpstr>
      <vt:lpstr>Microsoft Ignite White Template</vt:lpstr>
      <vt:lpstr>52060_Viva_Blue-purple</vt:lpstr>
      <vt:lpstr>Introduction to the Viva Learning extensibility How to leverage the connectors to transform customers’ learning culture</vt:lpstr>
      <vt:lpstr>Agenda</vt:lpstr>
      <vt:lpstr>The current learning landscape</vt:lpstr>
      <vt:lpstr>A new way of learning</vt:lpstr>
      <vt:lpstr>Viva Learning</vt:lpstr>
      <vt:lpstr>How, What &amp; When: Graph APIs</vt:lpstr>
      <vt:lpstr>Understand Learning sources integration- Diagram LMS Learning content and assignments</vt:lpstr>
      <vt:lpstr>Viva Learning Graph APIs</vt:lpstr>
      <vt:lpstr>Learning content in Viva Learning</vt:lpstr>
      <vt:lpstr>Learner Assignments in Viva Learning</vt:lpstr>
      <vt:lpstr>Learner completed courses in Viva Learning</vt:lpstr>
      <vt:lpstr>PowerPoint Presentation</vt:lpstr>
      <vt:lpstr>Viva Learning Graph APIs</vt:lpstr>
      <vt:lpstr>Get started with Viva Learning Graph APIs</vt:lpstr>
      <vt:lpstr>Resources and next steps</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XP Learning</dc:title>
  <dc:creator>John Mighell</dc:creator>
  <cp:revision>2</cp:revision>
  <dcterms:created xsi:type="dcterms:W3CDTF">2021-01-09T00:08:09Z</dcterms:created>
  <dcterms:modified xsi:type="dcterms:W3CDTF">2022-06-28T15:43: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9E4E46AEE829046AFC9CD8AFC045603</vt:lpwstr>
  </property>
  <property fmtid="{D5CDD505-2E9C-101B-9397-08002B2CF9AE}" pid="3" name="xd_Signature">
    <vt:bool>false</vt:bool>
  </property>
  <property fmtid="{D5CDD505-2E9C-101B-9397-08002B2CF9AE}" pid="4" name="xd_ProgID">
    <vt:lpwstr/>
  </property>
  <property fmtid="{D5CDD505-2E9C-101B-9397-08002B2CF9AE}" pid="5" name="TemplateUrl">
    <vt:lpwstr/>
  </property>
  <property fmtid="{D5CDD505-2E9C-101B-9397-08002B2CF9AE}" pid="6" name="ComplianceAssetId">
    <vt:lpwstr/>
  </property>
  <property fmtid="{D5CDD505-2E9C-101B-9397-08002B2CF9AE}" pid="7" name="_ExtendedDescription">
    <vt:lpwstr/>
  </property>
  <property fmtid="{D5CDD505-2E9C-101B-9397-08002B2CF9AE}" pid="8" name="MediaServiceImageTags">
    <vt:lpwstr/>
  </property>
</Properties>
</file>